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77" r:id="rId5"/>
    <p:sldId id="2147483017" r:id="rId6"/>
    <p:sldId id="2147478682" r:id="rId7"/>
    <p:sldId id="2147483030" r:id="rId8"/>
    <p:sldId id="2147483021" r:id="rId9"/>
    <p:sldId id="294" r:id="rId10"/>
    <p:sldId id="295" r:id="rId11"/>
  </p:sldIdLst>
  <p:sldSz cx="12192000" cy="6858000"/>
  <p:notesSz cx="7102475" cy="9037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8CECA32-55F5-1A55-6DC2-286F226B8406}" name="Carman, John" initials="" userId="S::AG86919@ad.wellpoint.com::52345bec-b65c-4004-a617-821fe027e79c" providerId="AD"/>
  <p188:author id="{E6C4C240-7348-C8C4-2264-41172814993C}" name="Turner, Jennifer" initials="TJ" userId="S::AL41470@ad.wellpoint.com::3aa54b6e-d86d-46c4-abc2-1ebe2b531209" providerId="AD"/>
  <p188:author id="{7BC92195-7397-10CF-9E17-286ADCC1E9F8}" name="Henry, Aaron" initials="AH" userId="S::AG87321@ad.wellpoint.com::bfb4bcd3-de5e-4101-b9b3-858382ddabc6" providerId="AD"/>
  <p188:author id="{C4E8199B-C0FC-7322-5B1D-3A0085583E1E}" name="Allgire, Sarah" initials="SA" userId="Allgire, Sarah" providerId="None"/>
  <p188:author id="{014BDDA2-EB0C-E035-756A-89E9F38722D0}" name="Black, Jennifer" initials="JB" userId="S::AG88782@ad.wellpoint.com::b63f46d8-3dfe-4d36-bafd-ff2bb3d709ee" providerId="AD"/>
  <p188:author id="{655F64BF-4F12-5296-AD40-662C420223C9}" name="Penn, Deanna" initials="PD" userId="S::ag88854@ad.wellpoint.com::19e4e71b-a7ca-4547-aa56-85d6031971d0" providerId="AD"/>
  <p188:author id="{859C23DC-393E-E215-974A-988A10ADFC65}" name="Dabrowski, Kristen" initials="DK" userId="S::ah09040@ad.wellpoint.com::1bad2380-bfa8-43f3-bfe4-f19c9625e372" providerId="AD"/>
  <p188:author id="{74F909E1-32CE-4387-A89F-DAE8F28AF5D0}" name="Chung, Sarah" initials="SC" userId="S::AG88333@ad.wellpoint.com::82d0f989-6b9d-44d0-b4a6-515735446189" providerId="AD"/>
  <p188:author id="{2059B3E1-8A07-6FB2-7A49-43F18BEE6600}" name="Scott, Toby" initials="ST" userId="S::ag88344@ad.wellpoint.com::681bb289-9ffc-4050-b3e8-2a73ab0cc2bf" providerId="AD"/>
  <p188:author id="{0E5C3BEF-ED77-DF1F-D033-7BD1E9A3A367}" name="Wiley, Deidra" initials="DW" userId="S::AH67496@ad.wellpoint.com::dc3a9c54-acd8-4ee7-a4c2-6b0ea58bb1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99EEA2-FAF6-4116-8A4E-809843FC4441}" v="2" dt="2025-04-28T22:13:16.9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034" autoAdjust="0"/>
  </p:normalViewPr>
  <p:slideViewPr>
    <p:cSldViewPr snapToGrid="0">
      <p:cViewPr varScale="1">
        <p:scale>
          <a:sx n="103" d="100"/>
          <a:sy n="103" d="100"/>
        </p:scale>
        <p:origin x="87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5913B8-1B98-4469-BEED-14CF082215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53451"/>
          </a:xfrm>
          <a:prstGeom prst="rect">
            <a:avLst/>
          </a:prstGeom>
        </p:spPr>
        <p:txBody>
          <a:bodyPr vert="horz" lIns="92224" tIns="46113" rIns="92224" bIns="461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ACF2BD-2FE5-43B2-8085-C6CDE781648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53451"/>
          </a:xfrm>
          <a:prstGeom prst="rect">
            <a:avLst/>
          </a:prstGeom>
        </p:spPr>
        <p:txBody>
          <a:bodyPr vert="horz" lIns="92224" tIns="46113" rIns="92224" bIns="46113" rtlCol="0"/>
          <a:lstStyle>
            <a:lvl1pPr algn="r">
              <a:defRPr sz="1200"/>
            </a:lvl1pPr>
          </a:lstStyle>
          <a:p>
            <a:fld id="{A0780483-F0DF-47DD-A444-98555015B4F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B3A712-87AC-4712-AD13-AFB566AEDFD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584188"/>
            <a:ext cx="3077739" cy="453450"/>
          </a:xfrm>
          <a:prstGeom prst="rect">
            <a:avLst/>
          </a:prstGeom>
        </p:spPr>
        <p:txBody>
          <a:bodyPr vert="horz" lIns="92224" tIns="46113" rIns="92224" bIns="461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1705E3-5AC5-415F-AF52-DCBBFF8D8A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092" y="8584188"/>
            <a:ext cx="3077739" cy="453450"/>
          </a:xfrm>
          <a:prstGeom prst="rect">
            <a:avLst/>
          </a:prstGeom>
        </p:spPr>
        <p:txBody>
          <a:bodyPr vert="horz" lIns="92224" tIns="46113" rIns="92224" bIns="46113" rtlCol="0" anchor="b"/>
          <a:lstStyle>
            <a:lvl1pPr algn="r">
              <a:defRPr sz="1200"/>
            </a:lvl1pPr>
          </a:lstStyle>
          <a:p>
            <a:fld id="{56A0F2A0-6ED4-4CBA-A889-76A2E3908A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0761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53451"/>
          </a:xfrm>
          <a:prstGeom prst="rect">
            <a:avLst/>
          </a:prstGeom>
        </p:spPr>
        <p:txBody>
          <a:bodyPr vert="horz" lIns="92224" tIns="46113" rIns="92224" bIns="461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53451"/>
          </a:xfrm>
          <a:prstGeom prst="rect">
            <a:avLst/>
          </a:prstGeom>
        </p:spPr>
        <p:txBody>
          <a:bodyPr vert="horz" lIns="92224" tIns="46113" rIns="92224" bIns="46113" rtlCol="0"/>
          <a:lstStyle>
            <a:lvl1pPr algn="r">
              <a:defRPr sz="1200"/>
            </a:lvl1pPr>
          </a:lstStyle>
          <a:p>
            <a:fld id="{FD49FC7E-4E06-43DB-B428-FC3C1D17C6D9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39788" y="1130300"/>
            <a:ext cx="5422900" cy="30495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4" tIns="46113" rIns="92224" bIns="4611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349364"/>
            <a:ext cx="5681980" cy="3558570"/>
          </a:xfrm>
          <a:prstGeom prst="rect">
            <a:avLst/>
          </a:prstGeom>
        </p:spPr>
        <p:txBody>
          <a:bodyPr vert="horz" lIns="92224" tIns="46113" rIns="92224" bIns="4611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584188"/>
            <a:ext cx="3077739" cy="453450"/>
          </a:xfrm>
          <a:prstGeom prst="rect">
            <a:avLst/>
          </a:prstGeom>
        </p:spPr>
        <p:txBody>
          <a:bodyPr vert="horz" lIns="92224" tIns="46113" rIns="92224" bIns="461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584188"/>
            <a:ext cx="3077739" cy="453450"/>
          </a:xfrm>
          <a:prstGeom prst="rect">
            <a:avLst/>
          </a:prstGeom>
        </p:spPr>
        <p:txBody>
          <a:bodyPr vert="horz" lIns="92224" tIns="46113" rIns="92224" bIns="46113" rtlCol="0" anchor="b"/>
          <a:lstStyle>
            <a:lvl1pPr algn="r">
              <a:defRPr sz="1200"/>
            </a:lvl1pPr>
          </a:lstStyle>
          <a:p>
            <a:fld id="{D25B4746-A893-4459-8BB2-1D7DFF5C77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609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746-A893-4459-8BB2-1D7DFF5C77A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165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88A581-1983-61A9-C67A-360B004301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084659-9462-4882-ED58-9F9F5FBDC7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E8CC2D-8265-DD79-D094-CCD1CAF43C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45"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ACC60F-A4CA-3B9C-174E-7BDFCA44FB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050AAF-C99E-5E47-BF9E-3FBCE85A751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872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B234D0-A986-48E5-9911-6B91D04EEDE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9219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AD2452-20B5-9CC2-C74B-639B20067B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4F1EFC-FFCF-AA60-1627-CF04DB2A62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A3E46E-41F1-4BEA-805A-AD4EAE32F1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57540C-9D4D-FD83-CD87-AD4EFFD1CDA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746-A893-4459-8BB2-1D7DFF5C77A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250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746-A893-4459-8BB2-1D7DFF5C77A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39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746-A893-4459-8BB2-1D7DFF5C77A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133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746-A893-4459-8BB2-1D7DFF5C77A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50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T Instructions for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arelon logo">
            <a:extLst>
              <a:ext uri="{FF2B5EF4-FFF2-40B4-BE49-F238E27FC236}">
                <a16:creationId xmlns:a16="http://schemas.microsoft.com/office/drawing/2014/main" id="{7712C514-1744-40C3-8B9D-E30A4DEF0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6626"/>
            <a:ext cx="12192000" cy="686462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81F4AC8-DB9B-4F23-9D00-D230926ECBD7}"/>
              </a:ext>
            </a:extLst>
          </p:cNvPr>
          <p:cNvSpPr/>
          <p:nvPr userDrawn="1"/>
        </p:nvSpPr>
        <p:spPr>
          <a:xfrm>
            <a:off x="791039" y="1060949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E5331C-E763-4827-9409-A6C2DB98B936}"/>
              </a:ext>
            </a:extLst>
          </p:cNvPr>
          <p:cNvSpPr txBox="1"/>
          <p:nvPr userDrawn="1"/>
        </p:nvSpPr>
        <p:spPr>
          <a:xfrm>
            <a:off x="671513" y="1060949"/>
            <a:ext cx="101690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00" b="1" spc="-150" baseline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OWERPOINT</a:t>
            </a:r>
            <a:r>
              <a:rPr lang="en-US" sz="5600" b="1" spc="-150" baseline="0">
                <a:solidFill>
                  <a:schemeClr val="accent1"/>
                </a:solidFill>
                <a:latin typeface="Arial Narrow" panose="020B0606020202030204" pitchFamily="34" charset="0"/>
              </a:rPr>
              <a:t> INSTRUC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F5E7B3-849A-43DB-BDF1-36A96C6CC97F}"/>
              </a:ext>
            </a:extLst>
          </p:cNvPr>
          <p:cNvSpPr txBox="1"/>
          <p:nvPr userDrawn="1"/>
        </p:nvSpPr>
        <p:spPr>
          <a:xfrm>
            <a:off x="671513" y="2343299"/>
            <a:ext cx="1004941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Please use built-in fonts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spc="0">
                <a:latin typeface="Arial Narrow" panose="020B0606020202030204" pitchFamily="34" charset="0"/>
              </a:rPr>
              <a:t>TITLE FONT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en-US" sz="1800" b="1" spc="0">
                <a:latin typeface="Arial Narrow" panose="020B0606020202030204" pitchFamily="34" charset="0"/>
                <a:cs typeface="Arial" panose="020B0604020202020204" pitchFamily="34" charset="0"/>
              </a:rPr>
              <a:t>ARIAL NARROW, BOLD, IN ALL CAPS,  AND CONDENSED TO “TIGHT”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>
                <a:latin typeface="Arial" panose="020B0604020202020204" pitchFamily="34" charset="0"/>
                <a:cs typeface="Arial" panose="020B0604020202020204" pitchFamily="34" charset="0"/>
              </a:rPr>
              <a:t>BODY FONT</a:t>
            </a: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—Ar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>
              <a:latin typeface="Montserrat Medium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COLORS—Use theme colors available in the top row of the color palet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To add slides, click on “New Slide” in the top banner, and then choose the desired layo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The following pre-formatted slides are available and should be used: title, “About DPBH,” agenda, questions, contact information, acronyms, final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Please delete this slide before finalizing your present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600">
              <a:latin typeface="Montserrat Medium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>
              <a:latin typeface="Montserrat Medium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E7235F5-D0C2-743A-7F7A-D2327BA27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CFAFBD86-34E5-E7D0-3914-BDB1006FDA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0960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D1F65-8D53-441B-838F-6333849A0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5600" b="1" spc="-150" baseline="0"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5CB46-A260-4CED-AB16-192A138C4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831F68-BE13-42C2-9A96-915F247F8ECE}"/>
              </a:ext>
            </a:extLst>
          </p:cNvPr>
          <p:cNvSpPr/>
          <p:nvPr userDrawn="1"/>
        </p:nvSpPr>
        <p:spPr>
          <a:xfrm>
            <a:off x="918339" y="461844"/>
            <a:ext cx="333384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325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evada Division of Public and Behavioral Health Logo">
            <a:extLst>
              <a:ext uri="{FF2B5EF4-FFF2-40B4-BE49-F238E27FC236}">
                <a16:creationId xmlns:a16="http://schemas.microsoft.com/office/drawing/2014/main" id="{89BCAB17-7C69-4D16-946C-DF074FCA52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5FBB70-8C65-4A17-A482-C76F91060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744780"/>
            <a:ext cx="3932237" cy="1600200"/>
          </a:xfrm>
        </p:spPr>
        <p:txBody>
          <a:bodyPr anchor="b">
            <a:normAutofit/>
          </a:bodyPr>
          <a:lstStyle>
            <a:lvl1pPr>
              <a:defRPr sz="5400" b="1" spc="-150" baseline="0"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585BF0-D4A1-45F9-99B8-4A512E45F4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0012" y="2057400"/>
            <a:ext cx="5855850" cy="4165762"/>
          </a:xfr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5AD729-3EA2-4199-BCF8-0A8BE52C6B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411574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61029A-8AC5-4BEA-8977-DB72BF613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CCE375-7B0D-4FBF-AF65-8700661AEECE}"/>
              </a:ext>
            </a:extLst>
          </p:cNvPr>
          <p:cNvSpPr/>
          <p:nvPr userDrawn="1"/>
        </p:nvSpPr>
        <p:spPr>
          <a:xfrm>
            <a:off x="922283" y="1429405"/>
            <a:ext cx="2787869" cy="839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A15B993-BA0C-2910-A733-83A8BD5D26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0F9A219E-B14E-198E-042B-1A391A6931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179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ACE0927-517B-491E-B3BD-81D448015B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3515" y="-17136"/>
            <a:ext cx="12199030" cy="6875136"/>
          </a:xfrm>
          <a:prstGeom prst="rect">
            <a:avLst/>
          </a:prstGeom>
        </p:spPr>
      </p:pic>
      <p:pic>
        <p:nvPicPr>
          <p:cNvPr id="9" name="Picture 8" descr="Image of a rural Nevada mountain range.">
            <a:extLst>
              <a:ext uri="{FF2B5EF4-FFF2-40B4-BE49-F238E27FC236}">
                <a16:creationId xmlns:a16="http://schemas.microsoft.com/office/drawing/2014/main" id="{4AAF0646-4B0E-4108-A7E0-793EAD8651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031" y="0"/>
            <a:ext cx="12199031" cy="686462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29DAE54-362B-4798-A1E5-DDA4EE3130E2}"/>
              </a:ext>
            </a:extLst>
          </p:cNvPr>
          <p:cNvSpPr/>
          <p:nvPr userDrawn="1"/>
        </p:nvSpPr>
        <p:spPr>
          <a:xfrm>
            <a:off x="6526670" y="2852773"/>
            <a:ext cx="3002920" cy="887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Nevada Division of Public and Behavioral Health Logo">
            <a:extLst>
              <a:ext uri="{FF2B5EF4-FFF2-40B4-BE49-F238E27FC236}">
                <a16:creationId xmlns:a16="http://schemas.microsoft.com/office/drawing/2014/main" id="{A55246FF-E902-4F06-8408-95D48BFEE6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75444" y="5113871"/>
            <a:ext cx="4479119" cy="12840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3137FEB-D559-4EF2-9660-149313F4E741}"/>
              </a:ext>
            </a:extLst>
          </p:cNvPr>
          <p:cNvSpPr txBox="1"/>
          <p:nvPr userDrawn="1"/>
        </p:nvSpPr>
        <p:spPr>
          <a:xfrm>
            <a:off x="6369922" y="2007874"/>
            <a:ext cx="45169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5600" b="1" i="0" u="none" strike="noStrike" kern="120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QUESTIONS?</a:t>
            </a:r>
            <a:endParaRPr lang="en-US" sz="5600" b="1" spc="-15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23F9506-60E0-7C27-4A6A-06EAA77CB2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49906" y="4487911"/>
            <a:ext cx="1892060" cy="41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260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C8AF31-8FE2-4DC0-8F80-35A39664AB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6612" y="2236424"/>
            <a:ext cx="5157787" cy="3976775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email, phone number, each on one lin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4E6868-1B2C-4234-B2A2-9A81928FD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8B2437-6D04-41ED-B347-D7EC8F2FB3BC}"/>
              </a:ext>
            </a:extLst>
          </p:cNvPr>
          <p:cNvSpPr/>
          <p:nvPr userDrawn="1"/>
        </p:nvSpPr>
        <p:spPr>
          <a:xfrm>
            <a:off x="911467" y="595507"/>
            <a:ext cx="333384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5BCA2413-D7B6-4AF1-8299-8244ED8DC7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196013" y="2236423"/>
            <a:ext cx="5157787" cy="3976775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, title, email, phone number, each on one line</a:t>
            </a:r>
          </a:p>
          <a:p>
            <a:pPr lvl="0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158D51-6464-4470-8D52-43709A84E4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3404" y="6354309"/>
            <a:ext cx="2061990" cy="365125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pbh.nv.gov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4C7321-6D0D-457A-9008-2B1A1E6EF8BF}"/>
              </a:ext>
            </a:extLst>
          </p:cNvPr>
          <p:cNvSpPr txBox="1"/>
          <p:nvPr userDrawn="1"/>
        </p:nvSpPr>
        <p:spPr>
          <a:xfrm>
            <a:off x="836612" y="595507"/>
            <a:ext cx="69168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5600" b="1" i="0" u="none" strike="noStrike" kern="1200" cap="none" spc="-150" normalizeH="0" baseline="0" noProof="0">
                <a:ln>
                  <a:noFill/>
                </a:ln>
                <a:solidFill>
                  <a:srgbClr val="005B9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CONTACT INFORMATION</a:t>
            </a:r>
            <a:endParaRPr lang="en-US" sz="5600" b="1" spc="-150" baseline="0">
              <a:latin typeface="Arial Narrow" panose="020B0606020202030204" pitchFamily="34" charset="0"/>
            </a:endParaRPr>
          </a:p>
        </p:txBody>
      </p:sp>
      <p:pic>
        <p:nvPicPr>
          <p:cNvPr id="2" name="Picture 1" descr="Nevada Division of Public and Behavioral Health Logo">
            <a:extLst>
              <a:ext uri="{FF2B5EF4-FFF2-40B4-BE49-F238E27FC236}">
                <a16:creationId xmlns:a16="http://schemas.microsoft.com/office/drawing/2014/main" id="{38BF25F1-0F4E-EED7-E1F2-E64FB8B991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F6D5B16-816F-1086-B0A8-9AB106DF6B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AB267AB6-8EC4-071B-06C1-1C65669C3E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3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ronyms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A3468-15E4-47DE-A503-1CBA4EC8A0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148289"/>
            <a:ext cx="10515600" cy="3907979"/>
          </a:xfrm>
        </p:spPr>
        <p:txBody>
          <a:bodyPr numCol="2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clude acronyms here. This text box is designed with two columns.</a:t>
            </a:r>
          </a:p>
          <a:p>
            <a:pPr lvl="0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6F63E-73BE-4BEE-BDC1-4749AE46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A3285ED-5E85-4370-8300-20A91DEF36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D07F87-321E-494A-A566-E7B51EFA7E93}"/>
              </a:ext>
            </a:extLst>
          </p:cNvPr>
          <p:cNvSpPr/>
          <p:nvPr userDrawn="1"/>
        </p:nvSpPr>
        <p:spPr>
          <a:xfrm>
            <a:off x="935418" y="530098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F4CB393-3829-4669-93E7-D61DBFC67220}"/>
              </a:ext>
            </a:extLst>
          </p:cNvPr>
          <p:cNvSpPr txBox="1"/>
          <p:nvPr userDrawn="1"/>
        </p:nvSpPr>
        <p:spPr>
          <a:xfrm>
            <a:off x="838200" y="530098"/>
            <a:ext cx="72349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5600" b="1" i="0" u="none" strike="noStrike" kern="1200" cap="none" spc="-150" normalizeH="0" baseline="0" noProof="0">
                <a:ln>
                  <a:noFill/>
                </a:ln>
                <a:solidFill>
                  <a:srgbClr val="005B9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ACRONYMS</a:t>
            </a:r>
            <a:endParaRPr lang="en-US" sz="5600" b="1" spc="-150" baseline="0">
              <a:latin typeface="Arial Narrow" panose="020B0606020202030204" pitchFamily="34" charset="0"/>
            </a:endParaRPr>
          </a:p>
        </p:txBody>
      </p:sp>
      <p:pic>
        <p:nvPicPr>
          <p:cNvPr id="2" name="Picture 1" descr="Nevada Division of Public and Behavioral Health Logo">
            <a:extLst>
              <a:ext uri="{FF2B5EF4-FFF2-40B4-BE49-F238E27FC236}">
                <a16:creationId xmlns:a16="http://schemas.microsoft.com/office/drawing/2014/main" id="{5B22C934-6696-5019-B766-D0E692BE8F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9AE63F-E28D-4C9C-9009-03424B0A9B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222473AB-DC78-199D-B06E-345990D973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38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C4D6E88-35AB-4537-83F4-4B09A56B19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050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C1E18-3994-4821-BBED-2E435EACD9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94048"/>
            <a:ext cx="11292840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>
              <a:solidFill>
                <a:schemeClr val="tx2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7C05061-C65B-D940-4DD8-5F7D9866404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23937535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am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0F62E-226D-824B-B8DB-2C89D7A65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593D0-EE65-A94C-979B-4EB5160A52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355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4F42A18-507B-2A47-B6EA-97335445F0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36F8D8-9E9A-7C43-880A-D35701E3268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6137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ADE556B-B119-6F48-A31A-9BF6AEDC91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911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E864A2-9804-E543-A5CE-8D60A0A295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7911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419F68C-84F4-CA45-BF35-6C80E7E913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76170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CB1C99-74B5-174F-98C0-171233B660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8035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24E4549-6E6F-7745-AB1B-8EDC747F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8035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9D27A29-F9E8-6346-A5EF-5DA6EA07F1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690622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EBB509A-6317-3047-B130-69533D44DA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1692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7C8E29D-1DF4-E64B-B1A0-057FB56DD8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692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0BD9928C-5B7E-4748-9D80-5DE690EE3B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951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3CBF30-81DD-0A43-8A15-60197C866C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917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199B807F-816B-6C48-B219-89F944F4EB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3917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8A8BF656-1C8C-6649-A301-D3C1DB5EA16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21757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97B3CF-F3AF-0847-973F-35EB62E0DB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5473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000D23D-524D-D842-BDC0-1528A56D18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5473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8ACF24C7-C577-1740-83D4-188B3F6A4CC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43732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97CDEC1-E73D-F846-83AB-C6232AFCC7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55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A0FC742-28EF-1F4F-98A3-67EDF60D95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55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AC2C9A8D-A59D-3545-BBA0-D20E682673F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6137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A06A56F-E43A-8E47-894E-4A4CED5190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7911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273EA5D-FA5D-204D-B343-A30D7C321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7911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820AB5A6-040E-7444-A303-397B423E04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76170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11F3BD3-8995-1046-8A62-EA88A88290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8035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9600E0F-D874-F846-849D-FD682311E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08035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C76A1F97-0A75-BD4D-BA6D-656B14A955D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90622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D916EA2-8B5B-7749-9833-BD3AAEB0BA6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1692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2B761728-8BB5-7C4B-A669-4B3DA236D6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1692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5" name="Picture Placeholder 7">
            <a:extLst>
              <a:ext uri="{FF2B5EF4-FFF2-40B4-BE49-F238E27FC236}">
                <a16:creationId xmlns:a16="http://schemas.microsoft.com/office/drawing/2014/main" id="{468D7D8C-1D74-7749-ACAE-DD956F429E0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59951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115002D-A2C1-3D47-8436-81012F937E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3917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2CA7F72-BC77-AB40-96F2-E54F449FEBA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917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2C35CCF-59F6-C041-BA4A-796054E77C0F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521757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EE03E675-6CAE-E140-A3D4-6495DA757E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5473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B051DED-7DBA-954E-84D8-696F32F899B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473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CFF36F95-2DB5-7F47-A3F3-20BF39ADC5A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43732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263485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AA6C2B6-0EBC-1BB7-9224-5AA6932380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60696236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5B9878-BB41-4F22-8AC1-758E1EAC19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9031" cy="686195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29DAE54-362B-4798-A1E5-DDA4EE3130E2}"/>
              </a:ext>
            </a:extLst>
          </p:cNvPr>
          <p:cNvSpPr/>
          <p:nvPr userDrawn="1"/>
        </p:nvSpPr>
        <p:spPr>
          <a:xfrm>
            <a:off x="995363" y="3099725"/>
            <a:ext cx="4309241" cy="1051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A0465E-FEBB-468C-BF00-13BA9D6738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9638" y="2131865"/>
            <a:ext cx="6605503" cy="1074246"/>
          </a:xfrm>
        </p:spPr>
        <p:txBody>
          <a:bodyPr anchor="b">
            <a:noAutofit/>
          </a:bodyPr>
          <a:lstStyle>
            <a:lvl1pPr algn="l">
              <a:defRPr sz="5600" b="1" spc="-1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6393C4-7143-4CE4-8A25-C544F7210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95279" y="4274004"/>
            <a:ext cx="3355975" cy="36409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4E76C3-81A0-41C4-964A-C7FAA571E8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5279" y="3510701"/>
            <a:ext cx="6605587" cy="595313"/>
          </a:xfrm>
        </p:spPr>
        <p:txBody>
          <a:bodyPr>
            <a:normAutofit/>
          </a:bodyPr>
          <a:lstStyle>
            <a:lvl1pPr marL="0" indent="0">
              <a:spcBef>
                <a:spcPts val="400"/>
              </a:spcBef>
              <a:buNone/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’s Name,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CA4A80D-CA0F-9C05-49B9-15242B98ED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5862698" y="4972396"/>
            <a:ext cx="2612512" cy="12789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6A4BB64-C8E1-4759-B60D-66A32D655858}"/>
              </a:ext>
            </a:extLst>
          </p:cNvPr>
          <p:cNvCxnSpPr/>
          <p:nvPr userDrawn="1"/>
        </p:nvCxnSpPr>
        <p:spPr>
          <a:xfrm>
            <a:off x="5572462" y="5282005"/>
            <a:ext cx="0" cy="67773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429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DPB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evada Division of Public and Behavioral Health Logo">
            <a:extLst>
              <a:ext uri="{FF2B5EF4-FFF2-40B4-BE49-F238E27FC236}">
                <a16:creationId xmlns:a16="http://schemas.microsoft.com/office/drawing/2014/main" id="{792A3ECF-6E63-41B7-977F-58C4F0C8ED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6F63E-73BE-4BEE-BDC1-4749AE46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95568" y="6377288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7A3285ED-5E85-4370-8300-20A91DEF36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D07F87-321E-494A-A566-E7B51EFA7E93}"/>
              </a:ext>
            </a:extLst>
          </p:cNvPr>
          <p:cNvSpPr/>
          <p:nvPr userDrawn="1"/>
        </p:nvSpPr>
        <p:spPr>
          <a:xfrm>
            <a:off x="935417" y="1429477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EF8E4E-9E4C-4B52-932A-6F29436FE6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43729" y="6159132"/>
            <a:ext cx="2095500" cy="44767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510A36A-170F-4CCA-988B-2BD70A494EFB}"/>
              </a:ext>
            </a:extLst>
          </p:cNvPr>
          <p:cNvSpPr txBox="1"/>
          <p:nvPr userDrawn="1"/>
        </p:nvSpPr>
        <p:spPr>
          <a:xfrm>
            <a:off x="858728" y="2827498"/>
            <a:ext cx="19890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4000" b="1" kern="1200" spc="-15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MISSION</a:t>
            </a:r>
            <a:endParaRPr lang="en-US" sz="4000" b="1" spc="-15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D853C6-344D-4656-ADA2-ECB37FCF8EB5}"/>
              </a:ext>
            </a:extLst>
          </p:cNvPr>
          <p:cNvSpPr txBox="1"/>
          <p:nvPr userDrawn="1"/>
        </p:nvSpPr>
        <p:spPr>
          <a:xfrm>
            <a:off x="3032916" y="2903852"/>
            <a:ext cx="82025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otect, promote, and improve the physical and behavioral health and safety of all people in Nevada, equitably and regardless of circumstances, so they can live their safest, longest, healthiest, and happiest life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FE61A21-F09F-4A27-87D0-F96BAE248A1F}"/>
              </a:ext>
            </a:extLst>
          </p:cNvPr>
          <p:cNvSpPr txBox="1"/>
          <p:nvPr userDrawn="1"/>
        </p:nvSpPr>
        <p:spPr>
          <a:xfrm>
            <a:off x="858728" y="3804116"/>
            <a:ext cx="2095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4000" b="1" kern="1200" spc="-15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VISION</a:t>
            </a:r>
            <a:endParaRPr lang="en-US" sz="4000" b="1" spc="-15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3C8C3F8-02AA-4DCE-8447-A7F1BFC43FE7}"/>
              </a:ext>
            </a:extLst>
          </p:cNvPr>
          <p:cNvSpPr txBox="1"/>
          <p:nvPr userDrawn="1"/>
        </p:nvSpPr>
        <p:spPr>
          <a:xfrm>
            <a:off x="848218" y="4780734"/>
            <a:ext cx="2095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4000" b="1" kern="1200" spc="-15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PURPOSE</a:t>
            </a:r>
            <a:endParaRPr lang="en-US" sz="4000" b="1" spc="-15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D49A56E-94B7-4D48-AB4D-939B7F318D1C}"/>
              </a:ext>
            </a:extLst>
          </p:cNvPr>
          <p:cNvSpPr txBox="1"/>
          <p:nvPr userDrawn="1"/>
        </p:nvSpPr>
        <p:spPr>
          <a:xfrm>
            <a:off x="838200" y="1386649"/>
            <a:ext cx="72232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00" b="1" spc="-150" baseline="0">
                <a:solidFill>
                  <a:schemeClr val="accent1"/>
                </a:solidFill>
                <a:latin typeface="Arial Narrow" panose="020B0606020202030204" pitchFamily="34" charset="0"/>
              </a:rPr>
              <a:t>ABOUT DPB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8ECB31-EBF2-4DC0-B1E2-5F634EDD16E7}"/>
              </a:ext>
            </a:extLst>
          </p:cNvPr>
          <p:cNvSpPr txBox="1"/>
          <p:nvPr userDrawn="1"/>
        </p:nvSpPr>
        <p:spPr>
          <a:xfrm>
            <a:off x="3032916" y="3960548"/>
            <a:ext cx="81063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vada where preventable health and safety issues no longer impact the opportunity for all people to live life in the best possible health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54397D-C3E2-4DFE-B2DF-1C30E6460CEC}"/>
              </a:ext>
            </a:extLst>
          </p:cNvPr>
          <p:cNvSpPr txBox="1"/>
          <p:nvPr userDrawn="1"/>
        </p:nvSpPr>
        <p:spPr>
          <a:xfrm>
            <a:off x="3032916" y="5045348"/>
            <a:ext cx="8515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ke everyone’s life healthier, happier, longer, and safer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6A60EA-9B99-447D-A738-743B4DEE4F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78854"/>
          <a:stretch/>
        </p:blipFill>
        <p:spPr>
          <a:xfrm>
            <a:off x="9610308" y="4647777"/>
            <a:ext cx="1113720" cy="14088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6730598-1102-1A9F-EE71-139DDC31D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8981253" y="1268733"/>
            <a:ext cx="32107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348CC74C-4AC6-6DAE-9330-F98235A8FA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749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A3468-15E4-47DE-A503-1CBA4EC8A0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565629"/>
            <a:ext cx="10515600" cy="3490640"/>
          </a:xfrm>
        </p:spPr>
        <p:txBody>
          <a:bodyPr/>
          <a:lstStyle>
            <a:lvl1pPr marL="457200" indent="-457200">
              <a:buFont typeface="+mj-lt"/>
              <a:buAutoNum type="arabicPeriod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6F63E-73BE-4BEE-BDC1-4749AE46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D07F87-321E-494A-A566-E7B51EFA7E93}"/>
              </a:ext>
            </a:extLst>
          </p:cNvPr>
          <p:cNvSpPr/>
          <p:nvPr userDrawn="1"/>
        </p:nvSpPr>
        <p:spPr>
          <a:xfrm>
            <a:off x="935418" y="1235177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9A5209-B0A0-4DAC-9C79-30839BB0C969}"/>
              </a:ext>
            </a:extLst>
          </p:cNvPr>
          <p:cNvSpPr txBox="1"/>
          <p:nvPr userDrawn="1"/>
        </p:nvSpPr>
        <p:spPr>
          <a:xfrm>
            <a:off x="838200" y="1235177"/>
            <a:ext cx="72127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600" b="1" spc="-150" baseline="0">
                <a:solidFill>
                  <a:schemeClr val="accent1"/>
                </a:solidFill>
                <a:latin typeface="Arial Narrow" panose="020B0606020202030204" pitchFamily="34" charset="0"/>
              </a:rPr>
              <a:t>AGENDA</a:t>
            </a:r>
          </a:p>
        </p:txBody>
      </p:sp>
      <p:pic>
        <p:nvPicPr>
          <p:cNvPr id="7" name="Picture 6" descr="Nevada Division of Public and Behavioral Health Logo">
            <a:extLst>
              <a:ext uri="{FF2B5EF4-FFF2-40B4-BE49-F238E27FC236}">
                <a16:creationId xmlns:a16="http://schemas.microsoft.com/office/drawing/2014/main" id="{AA013C55-8C55-B457-8622-95D2843188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6626"/>
            <a:ext cx="12192000" cy="6864626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86FD4F-FC5C-88E9-143D-CCBF739781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7D6399D5-F67B-5580-D281-ACE89A2887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458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-Yello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vada Division of Public and Behavioral Health Logo">
            <a:extLst>
              <a:ext uri="{FF2B5EF4-FFF2-40B4-BE49-F238E27FC236}">
                <a16:creationId xmlns:a16="http://schemas.microsoft.com/office/drawing/2014/main" id="{02882ADE-1263-4632-B7C5-BB988C15CF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4495D2-8A71-460C-AE0C-5DE0957C6E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8709" y="2048420"/>
            <a:ext cx="6730896" cy="1129755"/>
          </a:xfrm>
        </p:spPr>
        <p:txBody>
          <a:bodyPr>
            <a:normAutofit/>
          </a:bodyPr>
          <a:lstStyle>
            <a:lvl1pPr>
              <a:defRPr sz="5600" b="1" spc="-15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6F63E-73BE-4BEE-BDC1-4749AE46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D07F87-321E-494A-A566-E7B51EFA7E93}"/>
              </a:ext>
            </a:extLst>
          </p:cNvPr>
          <p:cNvSpPr/>
          <p:nvPr userDrawn="1"/>
        </p:nvSpPr>
        <p:spPr>
          <a:xfrm>
            <a:off x="935418" y="2017374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A6794D-B1BE-4D7B-8790-2964EF4F02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9313" y="3349625"/>
            <a:ext cx="10504487" cy="275431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22F7AC-BA0A-CC7D-2633-6A49F7A0A6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E3B461ED-2175-2B45-0BC4-CD3A7F7508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05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evada Division of Public and Behavioral Health Logo">
            <a:extLst>
              <a:ext uri="{FF2B5EF4-FFF2-40B4-BE49-F238E27FC236}">
                <a16:creationId xmlns:a16="http://schemas.microsoft.com/office/drawing/2014/main" id="{7712C514-1744-40C3-8B9D-E30A4DEF09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AF024F-C7E0-4D06-BF6D-4891999865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947" y="552411"/>
            <a:ext cx="6752422" cy="1325563"/>
          </a:xfrm>
        </p:spPr>
        <p:txBody>
          <a:bodyPr>
            <a:normAutofit/>
          </a:bodyPr>
          <a:lstStyle>
            <a:lvl1pPr>
              <a:defRPr sz="5600" b="1" spc="-150" baseline="0"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FF10F-437D-41F7-83FA-9C68337BFB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A3285ED-5E85-4370-8300-20A91DEF36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1F4AC8-DB9B-4F23-9D00-D230926ECBD7}"/>
              </a:ext>
            </a:extLst>
          </p:cNvPr>
          <p:cNvSpPr/>
          <p:nvPr userDrawn="1"/>
        </p:nvSpPr>
        <p:spPr>
          <a:xfrm>
            <a:off x="779008" y="645629"/>
            <a:ext cx="3783728" cy="98587"/>
          </a:xfrm>
          <a:prstGeom prst="rect">
            <a:avLst/>
          </a:prstGeom>
          <a:solidFill>
            <a:srgbClr val="9395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CA7B1B-E228-4D49-B0E8-0155A5A133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100" y="2117725"/>
            <a:ext cx="10552113" cy="392212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E614A5-8BCB-B4B9-1AFE-6B92496FCA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08495FF5-8D2F-E96D-3575-3FCA67D3F3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00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2D0089B-04CE-4B02-A648-EA00E54CAA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7" r="-3328"/>
          <a:stretch/>
        </p:blipFill>
        <p:spPr>
          <a:xfrm>
            <a:off x="0" y="0"/>
            <a:ext cx="12611510" cy="6858000"/>
          </a:xfrm>
          <a:prstGeom prst="rect">
            <a:avLst/>
          </a:prstGeom>
        </p:spPr>
      </p:pic>
      <p:pic>
        <p:nvPicPr>
          <p:cNvPr id="8" name="Picture 7" descr="Image of a rural Nevada mountain range.">
            <a:extLst>
              <a:ext uri="{FF2B5EF4-FFF2-40B4-BE49-F238E27FC236}">
                <a16:creationId xmlns:a16="http://schemas.microsoft.com/office/drawing/2014/main" id="{802CF646-7A28-481E-9652-9600FBF32F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490097"/>
            <a:ext cx="12192000" cy="43679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2EC631-D134-4FC6-A5E4-47145DBDC3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78525" y="3326578"/>
            <a:ext cx="5264150" cy="1133475"/>
          </a:xfrm>
        </p:spPr>
        <p:txBody>
          <a:bodyPr anchor="b">
            <a:noAutofit/>
          </a:bodyPr>
          <a:lstStyle>
            <a:lvl1pPr>
              <a:defRPr sz="5600" b="1" spc="-1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SECTION DIVIDER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4DB86A-91B1-4513-B08F-072C04B3BEC8}"/>
              </a:ext>
            </a:extLst>
          </p:cNvPr>
          <p:cNvSpPr/>
          <p:nvPr userDrawn="1"/>
        </p:nvSpPr>
        <p:spPr>
          <a:xfrm>
            <a:off x="6052750" y="4318120"/>
            <a:ext cx="2557850" cy="105104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3DD857-C4EF-49F7-97A8-7678011A2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A3285ED-5E85-4370-8300-20A91DEF364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Nevada Division of Public and Behavioral Health Logo">
            <a:extLst>
              <a:ext uri="{FF2B5EF4-FFF2-40B4-BE49-F238E27FC236}">
                <a16:creationId xmlns:a16="http://schemas.microsoft.com/office/drawing/2014/main" id="{D4BD1A4A-9A6F-4950-ABB0-E673F99AA76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86460" y="5592246"/>
            <a:ext cx="3939171" cy="1129229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29B67F8-FCED-AEBF-EAE5-AF23D56E23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77775" y="5149970"/>
            <a:ext cx="1892060" cy="442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02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--Yello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evada Division of Public and Behavioral Health Logo">
            <a:extLst>
              <a:ext uri="{FF2B5EF4-FFF2-40B4-BE49-F238E27FC236}">
                <a16:creationId xmlns:a16="http://schemas.microsoft.com/office/drawing/2014/main" id="{872E715C-2AAD-4A08-859E-23941C033B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0890589-F651-4D03-BDD7-75297E90DA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74007"/>
            <a:ext cx="7023538" cy="1325563"/>
          </a:xfrm>
        </p:spPr>
        <p:txBody>
          <a:bodyPr>
            <a:normAutofit/>
          </a:bodyPr>
          <a:lstStyle>
            <a:lvl1pPr>
              <a:defRPr sz="5600" b="1" spc="-150" baseline="0"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BF3DE8-109F-47EB-8D58-4D8E07841C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055813"/>
            <a:ext cx="5181600" cy="41211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76A07D-4E2D-487D-93E9-3A47AF9C36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5813"/>
            <a:ext cx="5181600" cy="412115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D88ECF-F40E-455C-AADC-0AB987789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0BCCCE2-0D87-424E-B4FA-C13BE7E3FF40}"/>
              </a:ext>
            </a:extLst>
          </p:cNvPr>
          <p:cNvSpPr/>
          <p:nvPr userDrawn="1"/>
        </p:nvSpPr>
        <p:spPr>
          <a:xfrm>
            <a:off x="956531" y="1564347"/>
            <a:ext cx="4309241" cy="1051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C6BF779-C334-E2EE-8AC9-E984A4F0D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758386CE-4428-DAEC-FE6B-8C8494A863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5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--Yellow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Nevada Division of Public and Behavioral Health Logo">
            <a:extLst>
              <a:ext uri="{FF2B5EF4-FFF2-40B4-BE49-F238E27FC236}">
                <a16:creationId xmlns:a16="http://schemas.microsoft.com/office/drawing/2014/main" id="{EC1F24E0-436A-41AE-B9AC-EC1CE47862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4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BC90FD2-EB6D-4992-A758-37363583E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6612" y="504549"/>
            <a:ext cx="6916846" cy="1325563"/>
          </a:xfrm>
        </p:spPr>
        <p:txBody>
          <a:bodyPr>
            <a:normAutofit/>
          </a:bodyPr>
          <a:lstStyle>
            <a:lvl1pPr>
              <a:defRPr sz="5600" b="1" spc="-150" baseline="0">
                <a:latin typeface="Arial Narrow" panose="020B0606020202030204" pitchFamily="34" charset="0"/>
              </a:defRPr>
            </a:lvl1pPr>
          </a:lstStyle>
          <a:p>
            <a:r>
              <a:rPr lang="en-US"/>
              <a:t>SLIDE TITL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184FCD-187B-4419-9893-2E9D74D4CE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6611" y="1701800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C8AF31-8FE2-4DC0-8F80-35A39664AB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612" y="2668863"/>
            <a:ext cx="5157787" cy="354433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46DA15-CDFF-4392-A1EE-DFFFCFE1BC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0612" y="1701800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B837E-CD61-4DB3-9478-7EFE380D5E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2" y="2661966"/>
            <a:ext cx="5183188" cy="355123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4E6868-1B2C-4234-B2A2-9A81928FD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39C896-163B-4075-8906-A20FCC336AE6}"/>
              </a:ext>
            </a:extLst>
          </p:cNvPr>
          <p:cNvSpPr/>
          <p:nvPr userDrawn="1"/>
        </p:nvSpPr>
        <p:spPr>
          <a:xfrm>
            <a:off x="911467" y="2476009"/>
            <a:ext cx="1341643" cy="71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8BBB03-3D73-461E-AB9E-CC887806D2B6}"/>
              </a:ext>
            </a:extLst>
          </p:cNvPr>
          <p:cNvSpPr/>
          <p:nvPr userDrawn="1"/>
        </p:nvSpPr>
        <p:spPr>
          <a:xfrm>
            <a:off x="911467" y="1530709"/>
            <a:ext cx="4309241" cy="1051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548C7E-A202-4653-BD9A-038C05978025}"/>
              </a:ext>
            </a:extLst>
          </p:cNvPr>
          <p:cNvSpPr/>
          <p:nvPr userDrawn="1"/>
        </p:nvSpPr>
        <p:spPr>
          <a:xfrm>
            <a:off x="6235043" y="2486478"/>
            <a:ext cx="1341643" cy="71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330BAA-5C3A-D114-9EDC-0B1FC169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981253" y="1268733"/>
            <a:ext cx="3200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216AF2CC-F6E3-7042-C43B-4AEF89647D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7405" b="19244"/>
          <a:stretch/>
        </p:blipFill>
        <p:spPr>
          <a:xfrm>
            <a:off x="10305208" y="1126800"/>
            <a:ext cx="1690074" cy="8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577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E1B35BC-DA0A-43D6-A99E-86C36FB5E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D2EDC9-AF42-43D7-B23F-22F02E301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TLE: </a:t>
            </a:r>
            <a:r>
              <a:rPr lang="en-US" sz="2400" b="1" spc="0">
                <a:latin typeface="Arial Narrow" panose="020B0606020202030204" pitchFamily="34" charset="0"/>
                <a:cs typeface="Arial" panose="020B0604020202020204" pitchFamily="34" charset="0"/>
              </a:rPr>
              <a:t>ARIAL NARROW, BOLD, IN ALL CAPS,  AND CONDENSED TO “TIGHT”</a:t>
            </a:r>
            <a:endParaRPr lang="en-US"/>
          </a:p>
          <a:p>
            <a:pPr lvl="1"/>
            <a:r>
              <a:rPr lang="en-US"/>
              <a:t>BODY: Arial</a:t>
            </a:r>
          </a:p>
          <a:p>
            <a:pPr lvl="2"/>
            <a:r>
              <a:rPr lang="en-US"/>
              <a:t>COLORS: Use theme colors (top row in color palett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BFF936-A4D9-4F85-AC29-60A3B99F5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A3285ED-5E85-4370-8300-20A91DEF36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294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69" r:id="rId3"/>
    <p:sldLayoutId id="2147483667" r:id="rId4"/>
    <p:sldLayoutId id="2147483650" r:id="rId5"/>
    <p:sldLayoutId id="2147483670" r:id="rId6"/>
    <p:sldLayoutId id="2147483651" r:id="rId7"/>
    <p:sldLayoutId id="2147483652" r:id="rId8"/>
    <p:sldLayoutId id="2147483653" r:id="rId9"/>
    <p:sldLayoutId id="2147483654" r:id="rId10"/>
    <p:sldLayoutId id="2147483657" r:id="rId11"/>
    <p:sldLayoutId id="2147483664" r:id="rId12"/>
    <p:sldLayoutId id="2147483665" r:id="rId13"/>
    <p:sldLayoutId id="2147483666" r:id="rId14"/>
    <p:sldLayoutId id="2147483668" r:id="rId15"/>
    <p:sldLayoutId id="2147483672" r:id="rId16"/>
    <p:sldLayoutId id="2147483673" r:id="rId17"/>
    <p:sldLayoutId id="2147483678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600" b="1" kern="1200" spc="-15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2200" b="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59595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r.isherwood@health.nv.gov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mquintana@health.nv.go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8C641E-CA07-4DC9-A679-1099D54237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9638" y="1928120"/>
            <a:ext cx="11282362" cy="1074246"/>
          </a:xfrm>
        </p:spPr>
        <p:txBody>
          <a:bodyPr/>
          <a:lstStyle/>
          <a:p>
            <a:r>
              <a:rPr lang="en-US" sz="4400"/>
              <a:t>NEVADA BEHAVIORAL HEALTH CRISIS CARE HU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AE5A45-6B23-47F6-86D5-55432D131B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From March 4, 2025 Kick of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365913-002D-43E5-950D-E319819D35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400"/>
              <a:t>Implementation Kickoff  |  Carelon</a:t>
            </a:r>
          </a:p>
        </p:txBody>
      </p:sp>
    </p:spTree>
    <p:extLst>
      <p:ext uri="{BB962C8B-B14F-4D97-AF65-F5344CB8AC3E}">
        <p14:creationId xmlns:p14="http://schemas.microsoft.com/office/powerpoint/2010/main" val="4057905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A2E9C-B377-3E70-C2F2-2AB30AA29D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03676786-66B3-8844-DC33-243F79428EA7}"/>
              </a:ext>
            </a:extLst>
          </p:cNvPr>
          <p:cNvSpPr/>
          <p:nvPr/>
        </p:nvSpPr>
        <p:spPr>
          <a:xfrm>
            <a:off x="0" y="3746715"/>
            <a:ext cx="12192000" cy="1591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28EE4E0-A24C-AAA8-0919-FB1480F4BBA3}"/>
              </a:ext>
            </a:extLst>
          </p:cNvPr>
          <p:cNvGrpSpPr/>
          <p:nvPr/>
        </p:nvGrpSpPr>
        <p:grpSpPr>
          <a:xfrm>
            <a:off x="6679643" y="2990247"/>
            <a:ext cx="5140021" cy="3236635"/>
            <a:chOff x="4793115" y="1840741"/>
            <a:chExt cx="7023273" cy="4422505"/>
          </a:xfrm>
          <a:solidFill>
            <a:schemeClr val="bg2"/>
          </a:solidFill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06E8FC6-FDBA-AB22-8C42-B0E59C00FE0A}"/>
                </a:ext>
              </a:extLst>
            </p:cNvPr>
            <p:cNvGrpSpPr/>
            <p:nvPr/>
          </p:nvGrpSpPr>
          <p:grpSpPr>
            <a:xfrm>
              <a:off x="6271862" y="5684057"/>
              <a:ext cx="860280" cy="563707"/>
              <a:chOff x="6271862" y="5684057"/>
              <a:chExt cx="860280" cy="563707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E60953F3-2D65-B964-6863-4EC852E63873}"/>
                  </a:ext>
                </a:extLst>
              </p:cNvPr>
              <p:cNvSpPr/>
              <p:nvPr/>
            </p:nvSpPr>
            <p:spPr>
              <a:xfrm>
                <a:off x="6949390" y="6027956"/>
                <a:ext cx="182752" cy="219808"/>
              </a:xfrm>
              <a:custGeom>
                <a:avLst/>
                <a:gdLst>
                  <a:gd name="connsiteX0" fmla="*/ 13642 w 202328"/>
                  <a:gd name="connsiteY0" fmla="*/ 68749 h 243353"/>
                  <a:gd name="connsiteX1" fmla="*/ 45 w 202328"/>
                  <a:gd name="connsiteY1" fmla="*/ 91499 h 243353"/>
                  <a:gd name="connsiteX2" fmla="*/ 14230 w 202328"/>
                  <a:gd name="connsiteY2" fmla="*/ 118782 h 243353"/>
                  <a:gd name="connsiteX3" fmla="*/ 23127 w 202328"/>
                  <a:gd name="connsiteY3" fmla="*/ 149171 h 243353"/>
                  <a:gd name="connsiteX4" fmla="*/ 23127 w 202328"/>
                  <a:gd name="connsiteY4" fmla="*/ 163610 h 243353"/>
                  <a:gd name="connsiteX5" fmla="*/ 15741 w 202328"/>
                  <a:gd name="connsiteY5" fmla="*/ 178552 h 243353"/>
                  <a:gd name="connsiteX6" fmla="*/ 18091 w 202328"/>
                  <a:gd name="connsiteY6" fmla="*/ 211124 h 243353"/>
                  <a:gd name="connsiteX7" fmla="*/ 66018 w 202328"/>
                  <a:gd name="connsiteY7" fmla="*/ 241765 h 243353"/>
                  <a:gd name="connsiteX8" fmla="*/ 89940 w 202328"/>
                  <a:gd name="connsiteY8" fmla="*/ 222457 h 243353"/>
                  <a:gd name="connsiteX9" fmla="*/ 110084 w 202328"/>
                  <a:gd name="connsiteY9" fmla="*/ 198616 h 243353"/>
                  <a:gd name="connsiteX10" fmla="*/ 154989 w 202328"/>
                  <a:gd name="connsiteY10" fmla="*/ 190976 h 243353"/>
                  <a:gd name="connsiteX11" fmla="*/ 186633 w 202328"/>
                  <a:gd name="connsiteY11" fmla="*/ 169150 h 243353"/>
                  <a:gd name="connsiteX12" fmla="*/ 202329 w 202328"/>
                  <a:gd name="connsiteY12" fmla="*/ 141616 h 243353"/>
                  <a:gd name="connsiteX13" fmla="*/ 192844 w 202328"/>
                  <a:gd name="connsiteY13" fmla="*/ 110387 h 243353"/>
                  <a:gd name="connsiteX14" fmla="*/ 171021 w 202328"/>
                  <a:gd name="connsiteY14" fmla="*/ 84279 h 243353"/>
                  <a:gd name="connsiteX15" fmla="*/ 146512 w 202328"/>
                  <a:gd name="connsiteY15" fmla="*/ 57920 h 243353"/>
                  <a:gd name="connsiteX16" fmla="*/ 107818 w 202328"/>
                  <a:gd name="connsiteY16" fmla="*/ 38696 h 243353"/>
                  <a:gd name="connsiteX17" fmla="*/ 74327 w 202328"/>
                  <a:gd name="connsiteY17" fmla="*/ 31056 h 243353"/>
                  <a:gd name="connsiteX18" fmla="*/ 44698 w 202328"/>
                  <a:gd name="connsiteY18" fmla="*/ 4697 h 243353"/>
                  <a:gd name="connsiteX19" fmla="*/ 27156 w 202328"/>
                  <a:gd name="connsiteY19" fmla="*/ 248 h 243353"/>
                  <a:gd name="connsiteX20" fmla="*/ 18678 w 202328"/>
                  <a:gd name="connsiteY20" fmla="*/ 17037 h 243353"/>
                  <a:gd name="connsiteX21" fmla="*/ 30345 w 202328"/>
                  <a:gd name="connsiteY21" fmla="*/ 45076 h 243353"/>
                  <a:gd name="connsiteX22" fmla="*/ 13474 w 202328"/>
                  <a:gd name="connsiteY22" fmla="*/ 68833 h 243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2328" h="243353">
                    <a:moveTo>
                      <a:pt x="13642" y="68749"/>
                    </a:moveTo>
                    <a:cubicBezTo>
                      <a:pt x="6508" y="74290"/>
                      <a:pt x="632" y="82265"/>
                      <a:pt x="45" y="91499"/>
                    </a:cubicBezTo>
                    <a:cubicBezTo>
                      <a:pt x="-711" y="103503"/>
                      <a:pt x="8270" y="109883"/>
                      <a:pt x="14230" y="118782"/>
                    </a:cubicBezTo>
                    <a:cubicBezTo>
                      <a:pt x="20357" y="128016"/>
                      <a:pt x="22036" y="138426"/>
                      <a:pt x="23127" y="149171"/>
                    </a:cubicBezTo>
                    <a:cubicBezTo>
                      <a:pt x="23547" y="153620"/>
                      <a:pt x="23715" y="159160"/>
                      <a:pt x="23127" y="163610"/>
                    </a:cubicBezTo>
                    <a:cubicBezTo>
                      <a:pt x="22036" y="172088"/>
                      <a:pt x="20357" y="171585"/>
                      <a:pt x="15741" y="178552"/>
                    </a:cubicBezTo>
                    <a:cubicBezTo>
                      <a:pt x="9362" y="188291"/>
                      <a:pt x="13642" y="199959"/>
                      <a:pt x="18091" y="211124"/>
                    </a:cubicBezTo>
                    <a:cubicBezTo>
                      <a:pt x="25897" y="230348"/>
                      <a:pt x="42012" y="248985"/>
                      <a:pt x="66018" y="241765"/>
                    </a:cubicBezTo>
                    <a:cubicBezTo>
                      <a:pt x="77349" y="238323"/>
                      <a:pt x="88009" y="235217"/>
                      <a:pt x="89940" y="222457"/>
                    </a:cubicBezTo>
                    <a:cubicBezTo>
                      <a:pt x="92122" y="208102"/>
                      <a:pt x="95563" y="202310"/>
                      <a:pt x="110084" y="198616"/>
                    </a:cubicBezTo>
                    <a:cubicBezTo>
                      <a:pt x="124269" y="195006"/>
                      <a:pt x="140720" y="195510"/>
                      <a:pt x="154989" y="190976"/>
                    </a:cubicBezTo>
                    <a:cubicBezTo>
                      <a:pt x="166320" y="187451"/>
                      <a:pt x="177568" y="177629"/>
                      <a:pt x="186633" y="169150"/>
                    </a:cubicBezTo>
                    <a:cubicBezTo>
                      <a:pt x="197461" y="158992"/>
                      <a:pt x="202329" y="156894"/>
                      <a:pt x="202329" y="141616"/>
                    </a:cubicBezTo>
                    <a:cubicBezTo>
                      <a:pt x="202329" y="127176"/>
                      <a:pt x="198551" y="122727"/>
                      <a:pt x="192844" y="110387"/>
                    </a:cubicBezTo>
                    <a:cubicBezTo>
                      <a:pt x="187304" y="98298"/>
                      <a:pt x="178575" y="94353"/>
                      <a:pt x="171021" y="84279"/>
                    </a:cubicBezTo>
                    <a:cubicBezTo>
                      <a:pt x="163047" y="73450"/>
                      <a:pt x="159018" y="64216"/>
                      <a:pt x="146512" y="57920"/>
                    </a:cubicBezTo>
                    <a:cubicBezTo>
                      <a:pt x="133837" y="51540"/>
                      <a:pt x="120995" y="43985"/>
                      <a:pt x="107818" y="38696"/>
                    </a:cubicBezTo>
                    <a:cubicBezTo>
                      <a:pt x="97074" y="34414"/>
                      <a:pt x="84819" y="35506"/>
                      <a:pt x="74327" y="31056"/>
                    </a:cubicBezTo>
                    <a:cubicBezTo>
                      <a:pt x="60142" y="25096"/>
                      <a:pt x="58716" y="10489"/>
                      <a:pt x="44698" y="4697"/>
                    </a:cubicBezTo>
                    <a:cubicBezTo>
                      <a:pt x="40250" y="2850"/>
                      <a:pt x="32360" y="-1012"/>
                      <a:pt x="27156" y="248"/>
                    </a:cubicBezTo>
                    <a:cubicBezTo>
                      <a:pt x="19266" y="2178"/>
                      <a:pt x="19434" y="8726"/>
                      <a:pt x="18678" y="17037"/>
                    </a:cubicBezTo>
                    <a:cubicBezTo>
                      <a:pt x="17587" y="28790"/>
                      <a:pt x="27408" y="34834"/>
                      <a:pt x="30345" y="45076"/>
                    </a:cubicBezTo>
                    <a:cubicBezTo>
                      <a:pt x="34458" y="59515"/>
                      <a:pt x="23043" y="61362"/>
                      <a:pt x="13474" y="68833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835B177D-DD91-7C21-5739-3E94A41ECBB4}"/>
                  </a:ext>
                </a:extLst>
              </p:cNvPr>
              <p:cNvSpPr/>
              <p:nvPr/>
            </p:nvSpPr>
            <p:spPr>
              <a:xfrm>
                <a:off x="6847047" y="5900932"/>
                <a:ext cx="114982" cy="83222"/>
              </a:xfrm>
              <a:custGeom>
                <a:avLst/>
                <a:gdLst>
                  <a:gd name="connsiteX0" fmla="*/ 26226 w 127299"/>
                  <a:gd name="connsiteY0" fmla="*/ 50971 h 92137"/>
                  <a:gd name="connsiteX1" fmla="*/ 40915 w 127299"/>
                  <a:gd name="connsiteY1" fmla="*/ 65242 h 92137"/>
                  <a:gd name="connsiteX2" fmla="*/ 58038 w 127299"/>
                  <a:gd name="connsiteY2" fmla="*/ 84802 h 92137"/>
                  <a:gd name="connsiteX3" fmla="*/ 77511 w 127299"/>
                  <a:gd name="connsiteY3" fmla="*/ 91602 h 92137"/>
                  <a:gd name="connsiteX4" fmla="*/ 95641 w 127299"/>
                  <a:gd name="connsiteY4" fmla="*/ 82032 h 92137"/>
                  <a:gd name="connsiteX5" fmla="*/ 107979 w 127299"/>
                  <a:gd name="connsiteY5" fmla="*/ 67173 h 92137"/>
                  <a:gd name="connsiteX6" fmla="*/ 126445 w 127299"/>
                  <a:gd name="connsiteY6" fmla="*/ 36196 h 92137"/>
                  <a:gd name="connsiteX7" fmla="*/ 99586 w 127299"/>
                  <a:gd name="connsiteY7" fmla="*/ 28893 h 92137"/>
                  <a:gd name="connsiteX8" fmla="*/ 82966 w 127299"/>
                  <a:gd name="connsiteY8" fmla="*/ 9921 h 92137"/>
                  <a:gd name="connsiteX9" fmla="*/ 62486 w 127299"/>
                  <a:gd name="connsiteY9" fmla="*/ 4464 h 92137"/>
                  <a:gd name="connsiteX10" fmla="*/ 51994 w 127299"/>
                  <a:gd name="connsiteY10" fmla="*/ 10256 h 92137"/>
                  <a:gd name="connsiteX11" fmla="*/ 38984 w 127299"/>
                  <a:gd name="connsiteY11" fmla="*/ 13446 h 92137"/>
                  <a:gd name="connsiteX12" fmla="*/ 28073 w 127299"/>
                  <a:gd name="connsiteY12" fmla="*/ 7402 h 92137"/>
                  <a:gd name="connsiteX13" fmla="*/ 5242 w 127299"/>
                  <a:gd name="connsiteY13" fmla="*/ 1022 h 92137"/>
                  <a:gd name="connsiteX14" fmla="*/ 6333 w 127299"/>
                  <a:gd name="connsiteY14" fmla="*/ 25703 h 92137"/>
                  <a:gd name="connsiteX15" fmla="*/ 15230 w 127299"/>
                  <a:gd name="connsiteY15" fmla="*/ 34349 h 92137"/>
                  <a:gd name="connsiteX16" fmla="*/ 26394 w 127299"/>
                  <a:gd name="connsiteY16" fmla="*/ 50971 h 9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7299" h="92137">
                    <a:moveTo>
                      <a:pt x="26226" y="50971"/>
                    </a:moveTo>
                    <a:cubicBezTo>
                      <a:pt x="31010" y="56092"/>
                      <a:pt x="36802" y="59534"/>
                      <a:pt x="40915" y="65242"/>
                    </a:cubicBezTo>
                    <a:cubicBezTo>
                      <a:pt x="45867" y="72126"/>
                      <a:pt x="52078" y="78757"/>
                      <a:pt x="58038" y="84802"/>
                    </a:cubicBezTo>
                    <a:cubicBezTo>
                      <a:pt x="63158" y="90007"/>
                      <a:pt x="69956" y="93532"/>
                      <a:pt x="77511" y="91602"/>
                    </a:cubicBezTo>
                    <a:cubicBezTo>
                      <a:pt x="84057" y="90007"/>
                      <a:pt x="90520" y="86313"/>
                      <a:pt x="95641" y="82032"/>
                    </a:cubicBezTo>
                    <a:cubicBezTo>
                      <a:pt x="101012" y="77415"/>
                      <a:pt x="102019" y="71202"/>
                      <a:pt x="107979" y="67173"/>
                    </a:cubicBezTo>
                    <a:cubicBezTo>
                      <a:pt x="118051" y="60373"/>
                      <a:pt x="130725" y="50803"/>
                      <a:pt x="126445" y="36196"/>
                    </a:cubicBezTo>
                    <a:cubicBezTo>
                      <a:pt x="123675" y="26878"/>
                      <a:pt x="107391" y="31243"/>
                      <a:pt x="99586" y="28893"/>
                    </a:cubicBezTo>
                    <a:cubicBezTo>
                      <a:pt x="89597" y="25955"/>
                      <a:pt x="88506" y="16217"/>
                      <a:pt x="82966" y="9921"/>
                    </a:cubicBezTo>
                    <a:cubicBezTo>
                      <a:pt x="77846" y="4044"/>
                      <a:pt x="70040" y="2197"/>
                      <a:pt x="62486" y="4464"/>
                    </a:cubicBezTo>
                    <a:cubicBezTo>
                      <a:pt x="58457" y="5639"/>
                      <a:pt x="55855" y="8493"/>
                      <a:pt x="51994" y="10256"/>
                    </a:cubicBezTo>
                    <a:cubicBezTo>
                      <a:pt x="48217" y="11851"/>
                      <a:pt x="42761" y="14118"/>
                      <a:pt x="38984" y="13446"/>
                    </a:cubicBezTo>
                    <a:cubicBezTo>
                      <a:pt x="35291" y="12775"/>
                      <a:pt x="31262" y="9333"/>
                      <a:pt x="28073" y="7402"/>
                    </a:cubicBezTo>
                    <a:cubicBezTo>
                      <a:pt x="21694" y="3625"/>
                      <a:pt x="12964" y="-2420"/>
                      <a:pt x="5242" y="1022"/>
                    </a:cubicBezTo>
                    <a:cubicBezTo>
                      <a:pt x="-4746" y="5387"/>
                      <a:pt x="1801" y="19490"/>
                      <a:pt x="6333" y="25703"/>
                    </a:cubicBezTo>
                    <a:cubicBezTo>
                      <a:pt x="8852" y="29145"/>
                      <a:pt x="12461" y="31159"/>
                      <a:pt x="15230" y="34349"/>
                    </a:cubicBezTo>
                    <a:cubicBezTo>
                      <a:pt x="19763" y="39302"/>
                      <a:pt x="21777" y="46018"/>
                      <a:pt x="26394" y="50971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5CCFAB0-2B8A-86D0-C1E2-48A3A6F56AB6}"/>
                  </a:ext>
                </a:extLst>
              </p:cNvPr>
              <p:cNvSpPr/>
              <p:nvPr/>
            </p:nvSpPr>
            <p:spPr>
              <a:xfrm>
                <a:off x="6582184" y="5782519"/>
                <a:ext cx="107923" cy="80653"/>
              </a:xfrm>
              <a:custGeom>
                <a:avLst/>
                <a:gdLst>
                  <a:gd name="connsiteX0" fmla="*/ 85197 w 119483"/>
                  <a:gd name="connsiteY0" fmla="*/ 35075 h 89292"/>
                  <a:gd name="connsiteX1" fmla="*/ 108279 w 119483"/>
                  <a:gd name="connsiteY1" fmla="*/ 53963 h 89292"/>
                  <a:gd name="connsiteX2" fmla="*/ 116924 w 119483"/>
                  <a:gd name="connsiteY2" fmla="*/ 79819 h 89292"/>
                  <a:gd name="connsiteX3" fmla="*/ 92583 w 119483"/>
                  <a:gd name="connsiteY3" fmla="*/ 86283 h 89292"/>
                  <a:gd name="connsiteX4" fmla="*/ 77979 w 119483"/>
                  <a:gd name="connsiteY4" fmla="*/ 67311 h 89292"/>
                  <a:gd name="connsiteX5" fmla="*/ 56323 w 119483"/>
                  <a:gd name="connsiteY5" fmla="*/ 78140 h 89292"/>
                  <a:gd name="connsiteX6" fmla="*/ 29632 w 119483"/>
                  <a:gd name="connsiteY6" fmla="*/ 84184 h 89292"/>
                  <a:gd name="connsiteX7" fmla="*/ 15615 w 119483"/>
                  <a:gd name="connsiteY7" fmla="*/ 63113 h 89292"/>
                  <a:gd name="connsiteX8" fmla="*/ 1346 w 119483"/>
                  <a:gd name="connsiteY8" fmla="*/ 38265 h 89292"/>
                  <a:gd name="connsiteX9" fmla="*/ 20399 w 119483"/>
                  <a:gd name="connsiteY9" fmla="*/ 19880 h 89292"/>
                  <a:gd name="connsiteX10" fmla="*/ 44572 w 119483"/>
                  <a:gd name="connsiteY10" fmla="*/ 68 h 89292"/>
                  <a:gd name="connsiteX11" fmla="*/ 85197 w 119483"/>
                  <a:gd name="connsiteY11" fmla="*/ 35075 h 89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483" h="89292">
                    <a:moveTo>
                      <a:pt x="85197" y="35075"/>
                    </a:moveTo>
                    <a:cubicBezTo>
                      <a:pt x="92332" y="41539"/>
                      <a:pt x="100389" y="47835"/>
                      <a:pt x="108279" y="53963"/>
                    </a:cubicBezTo>
                    <a:cubicBezTo>
                      <a:pt x="117176" y="60847"/>
                      <a:pt x="123136" y="67898"/>
                      <a:pt x="116924" y="79819"/>
                    </a:cubicBezTo>
                    <a:cubicBezTo>
                      <a:pt x="112140" y="88969"/>
                      <a:pt x="100893" y="92243"/>
                      <a:pt x="92583" y="86283"/>
                    </a:cubicBezTo>
                    <a:cubicBezTo>
                      <a:pt x="86120" y="81582"/>
                      <a:pt x="85785" y="69745"/>
                      <a:pt x="77979" y="67311"/>
                    </a:cubicBezTo>
                    <a:cubicBezTo>
                      <a:pt x="68410" y="64289"/>
                      <a:pt x="62870" y="73859"/>
                      <a:pt x="56323" y="78140"/>
                    </a:cubicBezTo>
                    <a:cubicBezTo>
                      <a:pt x="49441" y="82673"/>
                      <a:pt x="38277" y="87038"/>
                      <a:pt x="29632" y="84184"/>
                    </a:cubicBezTo>
                    <a:cubicBezTo>
                      <a:pt x="20651" y="81246"/>
                      <a:pt x="19308" y="70417"/>
                      <a:pt x="15615" y="63113"/>
                    </a:cubicBezTo>
                    <a:cubicBezTo>
                      <a:pt x="11334" y="54803"/>
                      <a:pt x="4116" y="47331"/>
                      <a:pt x="1346" y="38265"/>
                    </a:cubicBezTo>
                    <a:cubicBezTo>
                      <a:pt x="-4194" y="20048"/>
                      <a:pt x="8396" y="27100"/>
                      <a:pt x="20399" y="19880"/>
                    </a:cubicBezTo>
                    <a:cubicBezTo>
                      <a:pt x="29212" y="14592"/>
                      <a:pt x="32989" y="1076"/>
                      <a:pt x="44572" y="68"/>
                    </a:cubicBezTo>
                    <a:cubicBezTo>
                      <a:pt x="63122" y="-1527"/>
                      <a:pt x="74285" y="25169"/>
                      <a:pt x="85197" y="35075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885F559B-608B-7F16-8C2D-879D616103ED}"/>
                  </a:ext>
                </a:extLst>
              </p:cNvPr>
              <p:cNvSpPr/>
              <p:nvPr/>
            </p:nvSpPr>
            <p:spPr>
              <a:xfrm>
                <a:off x="6779305" y="5904525"/>
                <a:ext cx="46736" cy="43677"/>
              </a:xfrm>
              <a:custGeom>
                <a:avLst/>
                <a:gdLst>
                  <a:gd name="connsiteX0" fmla="*/ 41882 w 51742"/>
                  <a:gd name="connsiteY0" fmla="*/ 46069 h 48356"/>
                  <a:gd name="connsiteX1" fmla="*/ 50863 w 51742"/>
                  <a:gd name="connsiteY1" fmla="*/ 23571 h 48356"/>
                  <a:gd name="connsiteX2" fmla="*/ 36174 w 51742"/>
                  <a:gd name="connsiteY2" fmla="*/ 15596 h 48356"/>
                  <a:gd name="connsiteX3" fmla="*/ 23416 w 51742"/>
                  <a:gd name="connsiteY3" fmla="*/ 485 h 48356"/>
                  <a:gd name="connsiteX4" fmla="*/ 10994 w 51742"/>
                  <a:gd name="connsiteY4" fmla="*/ 485 h 48356"/>
                  <a:gd name="connsiteX5" fmla="*/ 418 w 51742"/>
                  <a:gd name="connsiteY5" fmla="*/ 6109 h 48356"/>
                  <a:gd name="connsiteX6" fmla="*/ 18212 w 51742"/>
                  <a:gd name="connsiteY6" fmla="*/ 36079 h 48356"/>
                  <a:gd name="connsiteX7" fmla="*/ 41882 w 51742"/>
                  <a:gd name="connsiteY7" fmla="*/ 46069 h 48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742" h="48356">
                    <a:moveTo>
                      <a:pt x="41882" y="46069"/>
                    </a:moveTo>
                    <a:cubicBezTo>
                      <a:pt x="47254" y="42627"/>
                      <a:pt x="54221" y="30454"/>
                      <a:pt x="50863" y="23571"/>
                    </a:cubicBezTo>
                    <a:cubicBezTo>
                      <a:pt x="48093" y="17946"/>
                      <a:pt x="40371" y="19289"/>
                      <a:pt x="36174" y="15596"/>
                    </a:cubicBezTo>
                    <a:cubicBezTo>
                      <a:pt x="31642" y="11650"/>
                      <a:pt x="29963" y="2584"/>
                      <a:pt x="23416" y="485"/>
                    </a:cubicBezTo>
                    <a:cubicBezTo>
                      <a:pt x="20059" y="-606"/>
                      <a:pt x="14519" y="485"/>
                      <a:pt x="10994" y="485"/>
                    </a:cubicBezTo>
                    <a:cubicBezTo>
                      <a:pt x="4950" y="485"/>
                      <a:pt x="1929" y="2164"/>
                      <a:pt x="418" y="6109"/>
                    </a:cubicBezTo>
                    <a:cubicBezTo>
                      <a:pt x="-2772" y="14420"/>
                      <a:pt x="13176" y="29195"/>
                      <a:pt x="18212" y="36079"/>
                    </a:cubicBezTo>
                    <a:cubicBezTo>
                      <a:pt x="23920" y="43802"/>
                      <a:pt x="31810" y="52617"/>
                      <a:pt x="41882" y="46069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786A3A70-8306-BBC6-6360-44EE581A354D}"/>
                  </a:ext>
                </a:extLst>
              </p:cNvPr>
              <p:cNvSpPr/>
              <p:nvPr/>
            </p:nvSpPr>
            <p:spPr>
              <a:xfrm>
                <a:off x="6738680" y="5854219"/>
                <a:ext cx="98827" cy="43434"/>
              </a:xfrm>
              <a:custGeom>
                <a:avLst/>
                <a:gdLst>
                  <a:gd name="connsiteX0" fmla="*/ 73429 w 109413"/>
                  <a:gd name="connsiteY0" fmla="*/ 14207 h 48086"/>
                  <a:gd name="connsiteX1" fmla="*/ 58740 w 109413"/>
                  <a:gd name="connsiteY1" fmla="*/ 10933 h 48086"/>
                  <a:gd name="connsiteX2" fmla="*/ 47577 w 109413"/>
                  <a:gd name="connsiteY2" fmla="*/ 1783 h 48086"/>
                  <a:gd name="connsiteX3" fmla="*/ 29782 w 109413"/>
                  <a:gd name="connsiteY3" fmla="*/ 440 h 48086"/>
                  <a:gd name="connsiteX4" fmla="*/ 11904 w 109413"/>
                  <a:gd name="connsiteY4" fmla="*/ 6736 h 48086"/>
                  <a:gd name="connsiteX5" fmla="*/ 69 w 109413"/>
                  <a:gd name="connsiteY5" fmla="*/ 19160 h 48086"/>
                  <a:gd name="connsiteX6" fmla="*/ 22396 w 109413"/>
                  <a:gd name="connsiteY6" fmla="*/ 37965 h 48086"/>
                  <a:gd name="connsiteX7" fmla="*/ 37924 w 109413"/>
                  <a:gd name="connsiteY7" fmla="*/ 32424 h 48086"/>
                  <a:gd name="connsiteX8" fmla="*/ 54040 w 109413"/>
                  <a:gd name="connsiteY8" fmla="*/ 43421 h 48086"/>
                  <a:gd name="connsiteX9" fmla="*/ 72841 w 109413"/>
                  <a:gd name="connsiteY9" fmla="*/ 43673 h 48086"/>
                  <a:gd name="connsiteX10" fmla="*/ 93154 w 109413"/>
                  <a:gd name="connsiteY10" fmla="*/ 47870 h 48086"/>
                  <a:gd name="connsiteX11" fmla="*/ 109269 w 109413"/>
                  <a:gd name="connsiteY11" fmla="*/ 30325 h 48086"/>
                  <a:gd name="connsiteX12" fmla="*/ 73597 w 109413"/>
                  <a:gd name="connsiteY12" fmla="*/ 14291 h 4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9413" h="48086">
                    <a:moveTo>
                      <a:pt x="73429" y="14207"/>
                    </a:moveTo>
                    <a:cubicBezTo>
                      <a:pt x="69064" y="13872"/>
                      <a:pt x="62685" y="13451"/>
                      <a:pt x="58740" y="10933"/>
                    </a:cubicBezTo>
                    <a:cubicBezTo>
                      <a:pt x="54459" y="8163"/>
                      <a:pt x="52613" y="3378"/>
                      <a:pt x="47577" y="1783"/>
                    </a:cubicBezTo>
                    <a:cubicBezTo>
                      <a:pt x="43044" y="272"/>
                      <a:pt x="34819" y="-568"/>
                      <a:pt x="29782" y="440"/>
                    </a:cubicBezTo>
                    <a:cubicBezTo>
                      <a:pt x="23655" y="1615"/>
                      <a:pt x="17780" y="4721"/>
                      <a:pt x="11904" y="6736"/>
                    </a:cubicBezTo>
                    <a:cubicBezTo>
                      <a:pt x="3762" y="9422"/>
                      <a:pt x="573" y="10682"/>
                      <a:pt x="69" y="19160"/>
                    </a:cubicBezTo>
                    <a:cubicBezTo>
                      <a:pt x="-938" y="35278"/>
                      <a:pt x="9134" y="45352"/>
                      <a:pt x="22396" y="37965"/>
                    </a:cubicBezTo>
                    <a:cubicBezTo>
                      <a:pt x="25502" y="36285"/>
                      <a:pt x="34147" y="32256"/>
                      <a:pt x="37924" y="32424"/>
                    </a:cubicBezTo>
                    <a:cubicBezTo>
                      <a:pt x="46486" y="32760"/>
                      <a:pt x="47996" y="40399"/>
                      <a:pt x="54040" y="43421"/>
                    </a:cubicBezTo>
                    <a:cubicBezTo>
                      <a:pt x="59495" y="46191"/>
                      <a:pt x="67050" y="42917"/>
                      <a:pt x="72841" y="43673"/>
                    </a:cubicBezTo>
                    <a:cubicBezTo>
                      <a:pt x="79136" y="44512"/>
                      <a:pt x="86607" y="49129"/>
                      <a:pt x="93154" y="47870"/>
                    </a:cubicBezTo>
                    <a:cubicBezTo>
                      <a:pt x="100204" y="46527"/>
                      <a:pt x="108094" y="36957"/>
                      <a:pt x="109269" y="30325"/>
                    </a:cubicBezTo>
                    <a:cubicBezTo>
                      <a:pt x="111703" y="16474"/>
                      <a:pt x="82745" y="14963"/>
                      <a:pt x="73597" y="14291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18AE82ED-3B1A-8760-8DB8-F5E00B5A984D}"/>
                  </a:ext>
                </a:extLst>
              </p:cNvPr>
              <p:cNvSpPr/>
              <p:nvPr/>
            </p:nvSpPr>
            <p:spPr>
              <a:xfrm>
                <a:off x="6349886" y="5684057"/>
                <a:ext cx="73633" cy="67858"/>
              </a:xfrm>
              <a:custGeom>
                <a:avLst/>
                <a:gdLst>
                  <a:gd name="connsiteX0" fmla="*/ 34923 w 81520"/>
                  <a:gd name="connsiteY0" fmla="*/ 10104 h 75127"/>
                  <a:gd name="connsiteX1" fmla="*/ 56159 w 81520"/>
                  <a:gd name="connsiteY1" fmla="*/ 366 h 75127"/>
                  <a:gd name="connsiteX2" fmla="*/ 74961 w 81520"/>
                  <a:gd name="connsiteY2" fmla="*/ 7585 h 75127"/>
                  <a:gd name="connsiteX3" fmla="*/ 80081 w 81520"/>
                  <a:gd name="connsiteY3" fmla="*/ 26473 h 75127"/>
                  <a:gd name="connsiteX4" fmla="*/ 75884 w 81520"/>
                  <a:gd name="connsiteY4" fmla="*/ 43767 h 75127"/>
                  <a:gd name="connsiteX5" fmla="*/ 74373 w 81520"/>
                  <a:gd name="connsiteY5" fmla="*/ 67356 h 75127"/>
                  <a:gd name="connsiteX6" fmla="*/ 42813 w 81520"/>
                  <a:gd name="connsiteY6" fmla="*/ 68363 h 75127"/>
                  <a:gd name="connsiteX7" fmla="*/ 27621 w 81520"/>
                  <a:gd name="connsiteY7" fmla="*/ 56275 h 75127"/>
                  <a:gd name="connsiteX8" fmla="*/ 6805 w 81520"/>
                  <a:gd name="connsiteY8" fmla="*/ 48132 h 75127"/>
                  <a:gd name="connsiteX9" fmla="*/ 6134 w 81520"/>
                  <a:gd name="connsiteY9" fmla="*/ 24375 h 75127"/>
                  <a:gd name="connsiteX10" fmla="*/ 18052 w 81520"/>
                  <a:gd name="connsiteY10" fmla="*/ 21101 h 75127"/>
                  <a:gd name="connsiteX11" fmla="*/ 35007 w 81520"/>
                  <a:gd name="connsiteY11" fmla="*/ 10104 h 75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520" h="75127">
                    <a:moveTo>
                      <a:pt x="34923" y="10104"/>
                    </a:moveTo>
                    <a:cubicBezTo>
                      <a:pt x="41638" y="6410"/>
                      <a:pt x="48269" y="1205"/>
                      <a:pt x="56159" y="366"/>
                    </a:cubicBezTo>
                    <a:cubicBezTo>
                      <a:pt x="65476" y="-642"/>
                      <a:pt x="69840" y="30"/>
                      <a:pt x="74961" y="7585"/>
                    </a:cubicBezTo>
                    <a:cubicBezTo>
                      <a:pt x="79745" y="14805"/>
                      <a:pt x="83774" y="18330"/>
                      <a:pt x="80081" y="26473"/>
                    </a:cubicBezTo>
                    <a:cubicBezTo>
                      <a:pt x="77143" y="32937"/>
                      <a:pt x="75884" y="35959"/>
                      <a:pt x="75884" y="43767"/>
                    </a:cubicBezTo>
                    <a:cubicBezTo>
                      <a:pt x="75884" y="51574"/>
                      <a:pt x="77227" y="60556"/>
                      <a:pt x="74373" y="67356"/>
                    </a:cubicBezTo>
                    <a:cubicBezTo>
                      <a:pt x="69001" y="80116"/>
                      <a:pt x="51039" y="74743"/>
                      <a:pt x="42813" y="68363"/>
                    </a:cubicBezTo>
                    <a:cubicBezTo>
                      <a:pt x="37441" y="64166"/>
                      <a:pt x="34084" y="59213"/>
                      <a:pt x="27621" y="56275"/>
                    </a:cubicBezTo>
                    <a:cubicBezTo>
                      <a:pt x="20822" y="53085"/>
                      <a:pt x="13184" y="52078"/>
                      <a:pt x="6805" y="48132"/>
                    </a:cubicBezTo>
                    <a:cubicBezTo>
                      <a:pt x="-1588" y="43011"/>
                      <a:pt x="-2680" y="29747"/>
                      <a:pt x="6134" y="24375"/>
                    </a:cubicBezTo>
                    <a:cubicBezTo>
                      <a:pt x="9575" y="22276"/>
                      <a:pt x="14359" y="22696"/>
                      <a:pt x="18052" y="21101"/>
                    </a:cubicBezTo>
                    <a:cubicBezTo>
                      <a:pt x="24348" y="18498"/>
                      <a:pt x="29132" y="13378"/>
                      <a:pt x="35007" y="10104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CEC1BCC8-7C9E-734F-A4D6-27463C7F929D}"/>
                  </a:ext>
                </a:extLst>
              </p:cNvPr>
              <p:cNvSpPr/>
              <p:nvPr/>
            </p:nvSpPr>
            <p:spPr>
              <a:xfrm>
                <a:off x="6271862" y="5729312"/>
                <a:ext cx="39102" cy="36752"/>
              </a:xfrm>
              <a:custGeom>
                <a:avLst/>
                <a:gdLst>
                  <a:gd name="connsiteX0" fmla="*/ 38377 w 43290"/>
                  <a:gd name="connsiteY0" fmla="*/ 21702 h 40689"/>
                  <a:gd name="connsiteX1" fmla="*/ 41399 w 43290"/>
                  <a:gd name="connsiteY1" fmla="*/ 4829 h 40689"/>
                  <a:gd name="connsiteX2" fmla="*/ 20163 w 43290"/>
                  <a:gd name="connsiteY2" fmla="*/ 3821 h 40689"/>
                  <a:gd name="connsiteX3" fmla="*/ 1865 w 43290"/>
                  <a:gd name="connsiteY3" fmla="*/ 34882 h 40689"/>
                  <a:gd name="connsiteX4" fmla="*/ 38461 w 43290"/>
                  <a:gd name="connsiteY4" fmla="*/ 21618 h 40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290" h="40689">
                    <a:moveTo>
                      <a:pt x="38377" y="21702"/>
                    </a:moveTo>
                    <a:cubicBezTo>
                      <a:pt x="40224" y="18848"/>
                      <a:pt x="46351" y="12972"/>
                      <a:pt x="41399" y="4829"/>
                    </a:cubicBezTo>
                    <a:cubicBezTo>
                      <a:pt x="35943" y="-4070"/>
                      <a:pt x="25199" y="1639"/>
                      <a:pt x="20163" y="3821"/>
                    </a:cubicBezTo>
                    <a:cubicBezTo>
                      <a:pt x="11182" y="7851"/>
                      <a:pt x="-5605" y="24472"/>
                      <a:pt x="1865" y="34882"/>
                    </a:cubicBezTo>
                    <a:cubicBezTo>
                      <a:pt x="12777" y="50244"/>
                      <a:pt x="32082" y="31356"/>
                      <a:pt x="38461" y="21618"/>
                    </a:cubicBezTo>
                    <a:close/>
                  </a:path>
                </a:pathLst>
              </a:custGeom>
              <a:grpFill/>
              <a:ln w="9525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009B5"/>
                  </a:solidFill>
                  <a:effectLst/>
                  <a:uLnTx/>
                  <a:uFillTx/>
                  <a:latin typeface="Elevance Sans"/>
                  <a:ea typeface="+mn-ea"/>
                  <a:cs typeface="+mn-cs"/>
                </a:endParaRPr>
              </a:p>
            </p:txBody>
          </p:sp>
        </p:grp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0A5CE36B-C129-9407-C24D-EBB9A16F3E76}"/>
                </a:ext>
              </a:extLst>
            </p:cNvPr>
            <p:cNvSpPr/>
            <p:nvPr/>
          </p:nvSpPr>
          <p:spPr>
            <a:xfrm>
              <a:off x="5004528" y="5216790"/>
              <a:ext cx="1177947" cy="976390"/>
            </a:xfrm>
            <a:custGeom>
              <a:avLst/>
              <a:gdLst>
                <a:gd name="connsiteX0" fmla="*/ 832597 w 1304125"/>
                <a:gd name="connsiteY0" fmla="*/ 690113 h 1080978"/>
                <a:gd name="connsiteX1" fmla="*/ 895212 w 1304125"/>
                <a:gd name="connsiteY1" fmla="*/ 675171 h 1080978"/>
                <a:gd name="connsiteX2" fmla="*/ 925261 w 1304125"/>
                <a:gd name="connsiteY2" fmla="*/ 707658 h 1080978"/>
                <a:gd name="connsiteX3" fmla="*/ 967564 w 1304125"/>
                <a:gd name="connsiteY3" fmla="*/ 731248 h 1080978"/>
                <a:gd name="connsiteX4" fmla="*/ 987457 w 1304125"/>
                <a:gd name="connsiteY4" fmla="*/ 711772 h 1080978"/>
                <a:gd name="connsiteX5" fmla="*/ 1005335 w 1304125"/>
                <a:gd name="connsiteY5" fmla="*/ 687427 h 1080978"/>
                <a:gd name="connsiteX6" fmla="*/ 1028166 w 1304125"/>
                <a:gd name="connsiteY6" fmla="*/ 683481 h 1080978"/>
                <a:gd name="connsiteX7" fmla="*/ 1093551 w 1304125"/>
                <a:gd name="connsiteY7" fmla="*/ 729317 h 1080978"/>
                <a:gd name="connsiteX8" fmla="*/ 1152054 w 1304125"/>
                <a:gd name="connsiteY8" fmla="*/ 784555 h 1080978"/>
                <a:gd name="connsiteX9" fmla="*/ 1184537 w 1304125"/>
                <a:gd name="connsiteY9" fmla="*/ 810243 h 1080978"/>
                <a:gd name="connsiteX10" fmla="*/ 1209046 w 1304125"/>
                <a:gd name="connsiteY10" fmla="*/ 833496 h 1080978"/>
                <a:gd name="connsiteX11" fmla="*/ 1252105 w 1304125"/>
                <a:gd name="connsiteY11" fmla="*/ 842898 h 1080978"/>
                <a:gd name="connsiteX12" fmla="*/ 1289456 w 1304125"/>
                <a:gd name="connsiteY12" fmla="*/ 857505 h 1080978"/>
                <a:gd name="connsiteX13" fmla="*/ 1279384 w 1304125"/>
                <a:gd name="connsiteY13" fmla="*/ 933142 h 1080978"/>
                <a:gd name="connsiteX14" fmla="*/ 1235821 w 1304125"/>
                <a:gd name="connsiteY14" fmla="*/ 918199 h 1080978"/>
                <a:gd name="connsiteX15" fmla="*/ 1198974 w 1304125"/>
                <a:gd name="connsiteY15" fmla="*/ 887054 h 1080978"/>
                <a:gd name="connsiteX16" fmla="*/ 1229107 w 1304125"/>
                <a:gd name="connsiteY16" fmla="*/ 934989 h 1080978"/>
                <a:gd name="connsiteX17" fmla="*/ 1208878 w 1304125"/>
                <a:gd name="connsiteY17" fmla="*/ 965378 h 1080978"/>
                <a:gd name="connsiteX18" fmla="*/ 1180844 w 1304125"/>
                <a:gd name="connsiteY18" fmla="*/ 946321 h 1080978"/>
                <a:gd name="connsiteX19" fmla="*/ 1162714 w 1304125"/>
                <a:gd name="connsiteY19" fmla="*/ 922396 h 1080978"/>
                <a:gd name="connsiteX20" fmla="*/ 1164057 w 1304125"/>
                <a:gd name="connsiteY20" fmla="*/ 896121 h 1080978"/>
                <a:gd name="connsiteX21" fmla="*/ 1135603 w 1304125"/>
                <a:gd name="connsiteY21" fmla="*/ 885208 h 1080978"/>
                <a:gd name="connsiteX22" fmla="*/ 1118648 w 1304125"/>
                <a:gd name="connsiteY22" fmla="*/ 850705 h 1080978"/>
                <a:gd name="connsiteX23" fmla="*/ 1093551 w 1304125"/>
                <a:gd name="connsiteY23" fmla="*/ 814440 h 1080978"/>
                <a:gd name="connsiteX24" fmla="*/ 1082724 w 1304125"/>
                <a:gd name="connsiteY24" fmla="*/ 791942 h 1080978"/>
                <a:gd name="connsiteX25" fmla="*/ 1058802 w 1304125"/>
                <a:gd name="connsiteY25" fmla="*/ 771543 h 1080978"/>
                <a:gd name="connsiteX26" fmla="*/ 1014316 w 1304125"/>
                <a:gd name="connsiteY26" fmla="*/ 747701 h 1080978"/>
                <a:gd name="connsiteX27" fmla="*/ 1041008 w 1304125"/>
                <a:gd name="connsiteY27" fmla="*/ 782120 h 1080978"/>
                <a:gd name="connsiteX28" fmla="*/ 1068790 w 1304125"/>
                <a:gd name="connsiteY28" fmla="*/ 811250 h 1080978"/>
                <a:gd name="connsiteX29" fmla="*/ 1109079 w 1304125"/>
                <a:gd name="connsiteY29" fmla="*/ 899479 h 1080978"/>
                <a:gd name="connsiteX30" fmla="*/ 1075673 w 1304125"/>
                <a:gd name="connsiteY30" fmla="*/ 869006 h 1080978"/>
                <a:gd name="connsiteX31" fmla="*/ 1047723 w 1304125"/>
                <a:gd name="connsiteY31" fmla="*/ 838449 h 1080978"/>
                <a:gd name="connsiteX32" fmla="*/ 1014065 w 1304125"/>
                <a:gd name="connsiteY32" fmla="*/ 810830 h 1080978"/>
                <a:gd name="connsiteX33" fmla="*/ 986030 w 1304125"/>
                <a:gd name="connsiteY33" fmla="*/ 779601 h 1080978"/>
                <a:gd name="connsiteX34" fmla="*/ 918630 w 1304125"/>
                <a:gd name="connsiteY34" fmla="*/ 741573 h 1080978"/>
                <a:gd name="connsiteX35" fmla="*/ 887154 w 1304125"/>
                <a:gd name="connsiteY35" fmla="*/ 716305 h 1080978"/>
                <a:gd name="connsiteX36" fmla="*/ 850727 w 1304125"/>
                <a:gd name="connsiteY36" fmla="*/ 731751 h 1080978"/>
                <a:gd name="connsiteX37" fmla="*/ 830834 w 1304125"/>
                <a:gd name="connsiteY37" fmla="*/ 726127 h 1080978"/>
                <a:gd name="connsiteX38" fmla="*/ 803975 w 1304125"/>
                <a:gd name="connsiteY38" fmla="*/ 723356 h 1080978"/>
                <a:gd name="connsiteX39" fmla="*/ 781564 w 1304125"/>
                <a:gd name="connsiteY39" fmla="*/ 721678 h 1080978"/>
                <a:gd name="connsiteX40" fmla="*/ 759573 w 1304125"/>
                <a:gd name="connsiteY40" fmla="*/ 726127 h 1080978"/>
                <a:gd name="connsiteX41" fmla="*/ 717521 w 1304125"/>
                <a:gd name="connsiteY41" fmla="*/ 713283 h 1080978"/>
                <a:gd name="connsiteX42" fmla="*/ 612351 w 1304125"/>
                <a:gd name="connsiteY42" fmla="*/ 671561 h 1080978"/>
                <a:gd name="connsiteX43" fmla="*/ 609581 w 1304125"/>
                <a:gd name="connsiteY43" fmla="*/ 730408 h 1080978"/>
                <a:gd name="connsiteX44" fmla="*/ 573405 w 1304125"/>
                <a:gd name="connsiteY44" fmla="*/ 735865 h 1080978"/>
                <a:gd name="connsiteX45" fmla="*/ 546881 w 1304125"/>
                <a:gd name="connsiteY45" fmla="*/ 754166 h 1080978"/>
                <a:gd name="connsiteX46" fmla="*/ 489637 w 1304125"/>
                <a:gd name="connsiteY46" fmla="*/ 779098 h 1080978"/>
                <a:gd name="connsiteX47" fmla="*/ 489637 w 1304125"/>
                <a:gd name="connsiteY47" fmla="*/ 769696 h 1080978"/>
                <a:gd name="connsiteX48" fmla="*/ 486616 w 1304125"/>
                <a:gd name="connsiteY48" fmla="*/ 740146 h 1080978"/>
                <a:gd name="connsiteX49" fmla="*/ 502396 w 1304125"/>
                <a:gd name="connsiteY49" fmla="*/ 705728 h 1080978"/>
                <a:gd name="connsiteX50" fmla="*/ 531437 w 1304125"/>
                <a:gd name="connsiteY50" fmla="*/ 683733 h 1080978"/>
                <a:gd name="connsiteX51" fmla="*/ 546545 w 1304125"/>
                <a:gd name="connsiteY51" fmla="*/ 649231 h 1080978"/>
                <a:gd name="connsiteX52" fmla="*/ 492155 w 1304125"/>
                <a:gd name="connsiteY52" fmla="*/ 671561 h 1080978"/>
                <a:gd name="connsiteX53" fmla="*/ 453042 w 1304125"/>
                <a:gd name="connsiteY53" fmla="*/ 717648 h 1080978"/>
                <a:gd name="connsiteX54" fmla="*/ 423664 w 1304125"/>
                <a:gd name="connsiteY54" fmla="*/ 771878 h 1080978"/>
                <a:gd name="connsiteX55" fmla="*/ 406877 w 1304125"/>
                <a:gd name="connsiteY55" fmla="*/ 786569 h 1080978"/>
                <a:gd name="connsiteX56" fmla="*/ 431638 w 1304125"/>
                <a:gd name="connsiteY56" fmla="*/ 804702 h 1080978"/>
                <a:gd name="connsiteX57" fmla="*/ 416446 w 1304125"/>
                <a:gd name="connsiteY57" fmla="*/ 843150 h 1080978"/>
                <a:gd name="connsiteX58" fmla="*/ 380354 w 1304125"/>
                <a:gd name="connsiteY58" fmla="*/ 885040 h 1080978"/>
                <a:gd name="connsiteX59" fmla="*/ 327055 w 1304125"/>
                <a:gd name="connsiteY59" fmla="*/ 929280 h 1080978"/>
                <a:gd name="connsiteX60" fmla="*/ 303637 w 1304125"/>
                <a:gd name="connsiteY60" fmla="*/ 947833 h 1080978"/>
                <a:gd name="connsiteX61" fmla="*/ 276946 w 1304125"/>
                <a:gd name="connsiteY61" fmla="*/ 965210 h 1080978"/>
                <a:gd name="connsiteX62" fmla="*/ 248911 w 1304125"/>
                <a:gd name="connsiteY62" fmla="*/ 997781 h 1080978"/>
                <a:gd name="connsiteX63" fmla="*/ 208119 w 1304125"/>
                <a:gd name="connsiteY63" fmla="*/ 1004413 h 1080978"/>
                <a:gd name="connsiteX64" fmla="*/ 169257 w 1304125"/>
                <a:gd name="connsiteY64" fmla="*/ 1032116 h 1080978"/>
                <a:gd name="connsiteX65" fmla="*/ 86245 w 1304125"/>
                <a:gd name="connsiteY65" fmla="*/ 1052431 h 1080978"/>
                <a:gd name="connsiteX66" fmla="*/ 75417 w 1304125"/>
                <a:gd name="connsiteY66" fmla="*/ 1069221 h 1080978"/>
                <a:gd name="connsiteX67" fmla="*/ 51328 w 1304125"/>
                <a:gd name="connsiteY67" fmla="*/ 1077364 h 1080978"/>
                <a:gd name="connsiteX68" fmla="*/ 4492 w 1304125"/>
                <a:gd name="connsiteY68" fmla="*/ 1068382 h 1080978"/>
                <a:gd name="connsiteX69" fmla="*/ 20859 w 1304125"/>
                <a:gd name="connsiteY69" fmla="*/ 1050585 h 1080978"/>
                <a:gd name="connsiteX70" fmla="*/ 60309 w 1304125"/>
                <a:gd name="connsiteY70" fmla="*/ 1029598 h 1080978"/>
                <a:gd name="connsiteX71" fmla="*/ 102109 w 1304125"/>
                <a:gd name="connsiteY71" fmla="*/ 1010038 h 1080978"/>
                <a:gd name="connsiteX72" fmla="*/ 138201 w 1304125"/>
                <a:gd name="connsiteY72" fmla="*/ 1000552 h 1080978"/>
                <a:gd name="connsiteX73" fmla="*/ 174796 w 1304125"/>
                <a:gd name="connsiteY73" fmla="*/ 997194 h 1080978"/>
                <a:gd name="connsiteX74" fmla="*/ 214414 w 1304125"/>
                <a:gd name="connsiteY74" fmla="*/ 963699 h 1080978"/>
                <a:gd name="connsiteX75" fmla="*/ 277030 w 1304125"/>
                <a:gd name="connsiteY75" fmla="*/ 902249 h 1080978"/>
                <a:gd name="connsiteX76" fmla="*/ 300951 w 1304125"/>
                <a:gd name="connsiteY76" fmla="*/ 847767 h 1080978"/>
                <a:gd name="connsiteX77" fmla="*/ 316143 w 1304125"/>
                <a:gd name="connsiteY77" fmla="*/ 819729 h 1080978"/>
                <a:gd name="connsiteX78" fmla="*/ 292138 w 1304125"/>
                <a:gd name="connsiteY78" fmla="*/ 819729 h 1080978"/>
                <a:gd name="connsiteX79" fmla="*/ 271406 w 1304125"/>
                <a:gd name="connsiteY79" fmla="*/ 837694 h 1080978"/>
                <a:gd name="connsiteX80" fmla="*/ 243707 w 1304125"/>
                <a:gd name="connsiteY80" fmla="*/ 832069 h 1080978"/>
                <a:gd name="connsiteX81" fmla="*/ 194605 w 1304125"/>
                <a:gd name="connsiteY81" fmla="*/ 799077 h 1080978"/>
                <a:gd name="connsiteX82" fmla="*/ 153813 w 1304125"/>
                <a:gd name="connsiteY82" fmla="*/ 825101 h 1080978"/>
                <a:gd name="connsiteX83" fmla="*/ 151714 w 1304125"/>
                <a:gd name="connsiteY83" fmla="*/ 771878 h 1080978"/>
                <a:gd name="connsiteX84" fmla="*/ 139963 w 1304125"/>
                <a:gd name="connsiteY84" fmla="*/ 710681 h 1080978"/>
                <a:gd name="connsiteX85" fmla="*/ 102444 w 1304125"/>
                <a:gd name="connsiteY85" fmla="*/ 734354 h 1080978"/>
                <a:gd name="connsiteX86" fmla="*/ 54517 w 1304125"/>
                <a:gd name="connsiteY86" fmla="*/ 695402 h 1080978"/>
                <a:gd name="connsiteX87" fmla="*/ 61568 w 1304125"/>
                <a:gd name="connsiteY87" fmla="*/ 657542 h 1080978"/>
                <a:gd name="connsiteX88" fmla="*/ 43186 w 1304125"/>
                <a:gd name="connsiteY88" fmla="*/ 619849 h 1080978"/>
                <a:gd name="connsiteX89" fmla="*/ 44277 w 1304125"/>
                <a:gd name="connsiteY89" fmla="*/ 580562 h 1080978"/>
                <a:gd name="connsiteX90" fmla="*/ 71053 w 1304125"/>
                <a:gd name="connsiteY90" fmla="*/ 543037 h 1080978"/>
                <a:gd name="connsiteX91" fmla="*/ 108907 w 1304125"/>
                <a:gd name="connsiteY91" fmla="*/ 521882 h 1080978"/>
                <a:gd name="connsiteX92" fmla="*/ 203838 w 1304125"/>
                <a:gd name="connsiteY92" fmla="*/ 496278 h 1080978"/>
                <a:gd name="connsiteX93" fmla="*/ 217016 w 1304125"/>
                <a:gd name="connsiteY93" fmla="*/ 454724 h 1080978"/>
                <a:gd name="connsiteX94" fmla="*/ 209797 w 1304125"/>
                <a:gd name="connsiteY94" fmla="*/ 419634 h 1080978"/>
                <a:gd name="connsiteX95" fmla="*/ 170600 w 1304125"/>
                <a:gd name="connsiteY95" fmla="*/ 429456 h 1080978"/>
                <a:gd name="connsiteX96" fmla="*/ 127205 w 1304125"/>
                <a:gd name="connsiteY96" fmla="*/ 418291 h 1080978"/>
                <a:gd name="connsiteX97" fmla="*/ 86832 w 1304125"/>
                <a:gd name="connsiteY97" fmla="*/ 411323 h 1080978"/>
                <a:gd name="connsiteX98" fmla="*/ 57287 w 1304125"/>
                <a:gd name="connsiteY98" fmla="*/ 381858 h 1080978"/>
                <a:gd name="connsiteX99" fmla="*/ 46963 w 1304125"/>
                <a:gd name="connsiteY99" fmla="*/ 348279 h 1080978"/>
                <a:gd name="connsiteX100" fmla="*/ 68534 w 1304125"/>
                <a:gd name="connsiteY100" fmla="*/ 313356 h 1080978"/>
                <a:gd name="connsiteX101" fmla="*/ 107396 w 1304125"/>
                <a:gd name="connsiteY101" fmla="*/ 296567 h 1080978"/>
                <a:gd name="connsiteX102" fmla="*/ 145419 w 1304125"/>
                <a:gd name="connsiteY102" fmla="*/ 295056 h 1080978"/>
                <a:gd name="connsiteX103" fmla="*/ 222472 w 1304125"/>
                <a:gd name="connsiteY103" fmla="*/ 328719 h 1080978"/>
                <a:gd name="connsiteX104" fmla="*/ 240686 w 1304125"/>
                <a:gd name="connsiteY104" fmla="*/ 299673 h 1080978"/>
                <a:gd name="connsiteX105" fmla="*/ 204593 w 1304125"/>
                <a:gd name="connsiteY105" fmla="*/ 268696 h 1080978"/>
                <a:gd name="connsiteX106" fmla="*/ 145419 w 1304125"/>
                <a:gd name="connsiteY106" fmla="*/ 211192 h 1080978"/>
                <a:gd name="connsiteX107" fmla="*/ 113692 w 1304125"/>
                <a:gd name="connsiteY107" fmla="*/ 151002 h 1080978"/>
                <a:gd name="connsiteX108" fmla="*/ 135767 w 1304125"/>
                <a:gd name="connsiteY108" fmla="*/ 133205 h 1080978"/>
                <a:gd name="connsiteX109" fmla="*/ 164808 w 1304125"/>
                <a:gd name="connsiteY109" fmla="*/ 136395 h 1080978"/>
                <a:gd name="connsiteX110" fmla="*/ 192339 w 1304125"/>
                <a:gd name="connsiteY110" fmla="*/ 126069 h 1080978"/>
                <a:gd name="connsiteX111" fmla="*/ 209042 w 1304125"/>
                <a:gd name="connsiteY111" fmla="*/ 92322 h 1080978"/>
                <a:gd name="connsiteX112" fmla="*/ 225661 w 1304125"/>
                <a:gd name="connsiteY112" fmla="*/ 62940 h 1080978"/>
                <a:gd name="connsiteX113" fmla="*/ 253192 w 1304125"/>
                <a:gd name="connsiteY113" fmla="*/ 54965 h 1080978"/>
                <a:gd name="connsiteX114" fmla="*/ 278372 w 1304125"/>
                <a:gd name="connsiteY114" fmla="*/ 41114 h 1080978"/>
                <a:gd name="connsiteX115" fmla="*/ 308002 w 1304125"/>
                <a:gd name="connsiteY115" fmla="*/ 30956 h 1080978"/>
                <a:gd name="connsiteX116" fmla="*/ 334273 w 1304125"/>
                <a:gd name="connsiteY116" fmla="*/ 14167 h 1080978"/>
                <a:gd name="connsiteX117" fmla="*/ 365581 w 1304125"/>
                <a:gd name="connsiteY117" fmla="*/ 987 h 1080978"/>
                <a:gd name="connsiteX118" fmla="*/ 391769 w 1304125"/>
                <a:gd name="connsiteY118" fmla="*/ 15762 h 1080978"/>
                <a:gd name="connsiteX119" fmla="*/ 414851 w 1304125"/>
                <a:gd name="connsiteY119" fmla="*/ 23065 h 1080978"/>
                <a:gd name="connsiteX120" fmla="*/ 447502 w 1304125"/>
                <a:gd name="connsiteY120" fmla="*/ 18616 h 1080978"/>
                <a:gd name="connsiteX121" fmla="*/ 454552 w 1304125"/>
                <a:gd name="connsiteY121" fmla="*/ 35490 h 1080978"/>
                <a:gd name="connsiteX122" fmla="*/ 463114 w 1304125"/>
                <a:gd name="connsiteY122" fmla="*/ 43548 h 1080978"/>
                <a:gd name="connsiteX123" fmla="*/ 529339 w 1304125"/>
                <a:gd name="connsiteY123" fmla="*/ 38008 h 1080978"/>
                <a:gd name="connsiteX124" fmla="*/ 556786 w 1304125"/>
                <a:gd name="connsiteY124" fmla="*/ 61094 h 1080978"/>
                <a:gd name="connsiteX125" fmla="*/ 588009 w 1304125"/>
                <a:gd name="connsiteY125" fmla="*/ 60926 h 1080978"/>
                <a:gd name="connsiteX126" fmla="*/ 664558 w 1304125"/>
                <a:gd name="connsiteY126" fmla="*/ 54630 h 1080978"/>
                <a:gd name="connsiteX127" fmla="*/ 700231 w 1304125"/>
                <a:gd name="connsiteY127" fmla="*/ 59583 h 1080978"/>
                <a:gd name="connsiteX128" fmla="*/ 711814 w 1304125"/>
                <a:gd name="connsiteY128" fmla="*/ 70412 h 1080978"/>
                <a:gd name="connsiteX129" fmla="*/ 832848 w 1304125"/>
                <a:gd name="connsiteY129" fmla="*/ 690197 h 1080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304125" h="1080978">
                  <a:moveTo>
                    <a:pt x="832597" y="690113"/>
                  </a:moveTo>
                  <a:cubicBezTo>
                    <a:pt x="855931" y="704301"/>
                    <a:pt x="872214" y="667112"/>
                    <a:pt x="895212" y="675171"/>
                  </a:cubicBezTo>
                  <a:cubicBezTo>
                    <a:pt x="910405" y="680543"/>
                    <a:pt x="914350" y="697501"/>
                    <a:pt x="925261" y="707658"/>
                  </a:cubicBezTo>
                  <a:cubicBezTo>
                    <a:pt x="936089" y="717648"/>
                    <a:pt x="953631" y="726211"/>
                    <a:pt x="967564" y="731248"/>
                  </a:cubicBezTo>
                  <a:cubicBezTo>
                    <a:pt x="983764" y="737040"/>
                    <a:pt x="981833" y="722182"/>
                    <a:pt x="987457" y="711772"/>
                  </a:cubicBezTo>
                  <a:cubicBezTo>
                    <a:pt x="992158" y="702957"/>
                    <a:pt x="1000215" y="696073"/>
                    <a:pt x="1005335" y="687427"/>
                  </a:cubicBezTo>
                  <a:cubicBezTo>
                    <a:pt x="1012722" y="674835"/>
                    <a:pt x="1019688" y="675087"/>
                    <a:pt x="1028166" y="683481"/>
                  </a:cubicBezTo>
                  <a:cubicBezTo>
                    <a:pt x="1047387" y="702706"/>
                    <a:pt x="1069630" y="716473"/>
                    <a:pt x="1093551" y="729317"/>
                  </a:cubicBezTo>
                  <a:cubicBezTo>
                    <a:pt x="1116633" y="741741"/>
                    <a:pt x="1133001" y="767261"/>
                    <a:pt x="1152054" y="784555"/>
                  </a:cubicBezTo>
                  <a:cubicBezTo>
                    <a:pt x="1162714" y="794208"/>
                    <a:pt x="1175136" y="798658"/>
                    <a:pt x="1184537" y="810243"/>
                  </a:cubicBezTo>
                  <a:cubicBezTo>
                    <a:pt x="1191839" y="819141"/>
                    <a:pt x="1198554" y="828711"/>
                    <a:pt x="1209046" y="833496"/>
                  </a:cubicBezTo>
                  <a:cubicBezTo>
                    <a:pt x="1221888" y="839288"/>
                    <a:pt x="1238423" y="840044"/>
                    <a:pt x="1252105" y="842898"/>
                  </a:cubicBezTo>
                  <a:cubicBezTo>
                    <a:pt x="1265199" y="845668"/>
                    <a:pt x="1279048" y="848942"/>
                    <a:pt x="1289456" y="857505"/>
                  </a:cubicBezTo>
                  <a:cubicBezTo>
                    <a:pt x="1309684" y="874127"/>
                    <a:pt x="1311363" y="918283"/>
                    <a:pt x="1279384" y="933142"/>
                  </a:cubicBezTo>
                  <a:cubicBezTo>
                    <a:pt x="1266458" y="939102"/>
                    <a:pt x="1246985" y="927517"/>
                    <a:pt x="1235821" y="918199"/>
                  </a:cubicBezTo>
                  <a:cubicBezTo>
                    <a:pt x="1225078" y="909217"/>
                    <a:pt x="1211144" y="873455"/>
                    <a:pt x="1198974" y="887054"/>
                  </a:cubicBezTo>
                  <a:cubicBezTo>
                    <a:pt x="1183866" y="903928"/>
                    <a:pt x="1218027" y="920214"/>
                    <a:pt x="1229107" y="934989"/>
                  </a:cubicBezTo>
                  <a:cubicBezTo>
                    <a:pt x="1244131" y="955052"/>
                    <a:pt x="1235402" y="976459"/>
                    <a:pt x="1208878" y="965378"/>
                  </a:cubicBezTo>
                  <a:cubicBezTo>
                    <a:pt x="1199142" y="961264"/>
                    <a:pt x="1189573" y="952198"/>
                    <a:pt x="1180844" y="946321"/>
                  </a:cubicBezTo>
                  <a:cubicBezTo>
                    <a:pt x="1171107" y="939690"/>
                    <a:pt x="1162462" y="935324"/>
                    <a:pt x="1162714" y="922396"/>
                  </a:cubicBezTo>
                  <a:cubicBezTo>
                    <a:pt x="1162966" y="911064"/>
                    <a:pt x="1171275" y="907202"/>
                    <a:pt x="1164057" y="896121"/>
                  </a:cubicBezTo>
                  <a:cubicBezTo>
                    <a:pt x="1155579" y="883109"/>
                    <a:pt x="1146095" y="890328"/>
                    <a:pt x="1135603" y="885208"/>
                  </a:cubicBezTo>
                  <a:cubicBezTo>
                    <a:pt x="1124271" y="879583"/>
                    <a:pt x="1122593" y="861618"/>
                    <a:pt x="1118648" y="850705"/>
                  </a:cubicBezTo>
                  <a:cubicBezTo>
                    <a:pt x="1112689" y="834167"/>
                    <a:pt x="1103623" y="827284"/>
                    <a:pt x="1093551" y="814440"/>
                  </a:cubicBezTo>
                  <a:cubicBezTo>
                    <a:pt x="1088515" y="807976"/>
                    <a:pt x="1087592" y="798742"/>
                    <a:pt x="1082724" y="791942"/>
                  </a:cubicBezTo>
                  <a:cubicBezTo>
                    <a:pt x="1077016" y="784051"/>
                    <a:pt x="1066440" y="777671"/>
                    <a:pt x="1058802" y="771543"/>
                  </a:cubicBezTo>
                  <a:cubicBezTo>
                    <a:pt x="1048394" y="763232"/>
                    <a:pt x="1023801" y="737208"/>
                    <a:pt x="1014316" y="747701"/>
                  </a:cubicBezTo>
                  <a:cubicBezTo>
                    <a:pt x="1000887" y="762560"/>
                    <a:pt x="1027662" y="772970"/>
                    <a:pt x="1041008" y="782120"/>
                  </a:cubicBezTo>
                  <a:cubicBezTo>
                    <a:pt x="1051835" y="789591"/>
                    <a:pt x="1059306" y="802183"/>
                    <a:pt x="1068790" y="811250"/>
                  </a:cubicBezTo>
                  <a:cubicBezTo>
                    <a:pt x="1091872" y="833244"/>
                    <a:pt x="1125698" y="883613"/>
                    <a:pt x="1109079" y="899479"/>
                  </a:cubicBezTo>
                  <a:cubicBezTo>
                    <a:pt x="1104295" y="904012"/>
                    <a:pt x="1081045" y="875302"/>
                    <a:pt x="1075673" y="869006"/>
                  </a:cubicBezTo>
                  <a:cubicBezTo>
                    <a:pt x="1066272" y="858009"/>
                    <a:pt x="1059390" y="847767"/>
                    <a:pt x="1047723" y="838449"/>
                  </a:cubicBezTo>
                  <a:cubicBezTo>
                    <a:pt x="1036223" y="829382"/>
                    <a:pt x="1025732" y="819813"/>
                    <a:pt x="1014065" y="810830"/>
                  </a:cubicBezTo>
                  <a:cubicBezTo>
                    <a:pt x="1001642" y="801344"/>
                    <a:pt x="997781" y="789088"/>
                    <a:pt x="986030" y="779601"/>
                  </a:cubicBezTo>
                  <a:cubicBezTo>
                    <a:pt x="966557" y="763903"/>
                    <a:pt x="940873" y="753242"/>
                    <a:pt x="918630" y="741573"/>
                  </a:cubicBezTo>
                  <a:cubicBezTo>
                    <a:pt x="907215" y="735613"/>
                    <a:pt x="897898" y="719747"/>
                    <a:pt x="887154" y="716305"/>
                  </a:cubicBezTo>
                  <a:cubicBezTo>
                    <a:pt x="870955" y="711184"/>
                    <a:pt x="868269" y="733011"/>
                    <a:pt x="850727" y="731751"/>
                  </a:cubicBezTo>
                  <a:cubicBezTo>
                    <a:pt x="843928" y="731248"/>
                    <a:pt x="837717" y="727554"/>
                    <a:pt x="830834" y="726127"/>
                  </a:cubicBezTo>
                  <a:cubicBezTo>
                    <a:pt x="822021" y="724280"/>
                    <a:pt x="812620" y="725035"/>
                    <a:pt x="803975" y="723356"/>
                  </a:cubicBezTo>
                  <a:cubicBezTo>
                    <a:pt x="794238" y="721426"/>
                    <a:pt x="791636" y="719579"/>
                    <a:pt x="781564" y="721678"/>
                  </a:cubicBezTo>
                  <a:cubicBezTo>
                    <a:pt x="773758" y="723356"/>
                    <a:pt x="767631" y="725875"/>
                    <a:pt x="759573" y="726127"/>
                  </a:cubicBezTo>
                  <a:cubicBezTo>
                    <a:pt x="745052" y="726630"/>
                    <a:pt x="729860" y="717900"/>
                    <a:pt x="717521" y="713283"/>
                  </a:cubicBezTo>
                  <a:cubicBezTo>
                    <a:pt x="681345" y="699516"/>
                    <a:pt x="655829" y="665433"/>
                    <a:pt x="612351" y="671561"/>
                  </a:cubicBezTo>
                  <a:cubicBezTo>
                    <a:pt x="573573" y="677102"/>
                    <a:pt x="624269" y="711772"/>
                    <a:pt x="609581" y="730408"/>
                  </a:cubicBezTo>
                  <a:cubicBezTo>
                    <a:pt x="604629" y="736620"/>
                    <a:pt x="581295" y="733430"/>
                    <a:pt x="573405" y="735865"/>
                  </a:cubicBezTo>
                  <a:cubicBezTo>
                    <a:pt x="561654" y="739559"/>
                    <a:pt x="556114" y="745855"/>
                    <a:pt x="546881" y="754166"/>
                  </a:cubicBezTo>
                  <a:cubicBezTo>
                    <a:pt x="531353" y="768101"/>
                    <a:pt x="508355" y="793789"/>
                    <a:pt x="489637" y="779098"/>
                  </a:cubicBezTo>
                  <a:cubicBezTo>
                    <a:pt x="487791" y="777587"/>
                    <a:pt x="487875" y="771291"/>
                    <a:pt x="489637" y="769696"/>
                  </a:cubicBezTo>
                  <a:cubicBezTo>
                    <a:pt x="499710" y="761469"/>
                    <a:pt x="486532" y="749716"/>
                    <a:pt x="486616" y="740146"/>
                  </a:cubicBezTo>
                  <a:cubicBezTo>
                    <a:pt x="486784" y="727638"/>
                    <a:pt x="496016" y="716893"/>
                    <a:pt x="502396" y="705728"/>
                  </a:cubicBezTo>
                  <a:cubicBezTo>
                    <a:pt x="511712" y="689526"/>
                    <a:pt x="518007" y="694143"/>
                    <a:pt x="531437" y="683733"/>
                  </a:cubicBezTo>
                  <a:cubicBezTo>
                    <a:pt x="540166" y="677018"/>
                    <a:pt x="555359" y="656702"/>
                    <a:pt x="546545" y="649231"/>
                  </a:cubicBezTo>
                  <a:cubicBezTo>
                    <a:pt x="531941" y="636974"/>
                    <a:pt x="506760" y="660480"/>
                    <a:pt x="492155" y="671561"/>
                  </a:cubicBezTo>
                  <a:cubicBezTo>
                    <a:pt x="480069" y="680627"/>
                    <a:pt x="458497" y="703377"/>
                    <a:pt x="453042" y="717648"/>
                  </a:cubicBezTo>
                  <a:cubicBezTo>
                    <a:pt x="444564" y="739642"/>
                    <a:pt x="445571" y="756684"/>
                    <a:pt x="423664" y="771878"/>
                  </a:cubicBezTo>
                  <a:cubicBezTo>
                    <a:pt x="418125" y="775740"/>
                    <a:pt x="407129" y="778174"/>
                    <a:pt x="406877" y="786569"/>
                  </a:cubicBezTo>
                  <a:cubicBezTo>
                    <a:pt x="406542" y="795887"/>
                    <a:pt x="426266" y="800253"/>
                    <a:pt x="431638" y="804702"/>
                  </a:cubicBezTo>
                  <a:cubicBezTo>
                    <a:pt x="447082" y="817378"/>
                    <a:pt x="428952" y="832237"/>
                    <a:pt x="416446" y="843150"/>
                  </a:cubicBezTo>
                  <a:cubicBezTo>
                    <a:pt x="400918" y="856749"/>
                    <a:pt x="391685" y="868083"/>
                    <a:pt x="380354" y="885040"/>
                  </a:cubicBezTo>
                  <a:cubicBezTo>
                    <a:pt x="367260" y="904516"/>
                    <a:pt x="343842" y="913666"/>
                    <a:pt x="327055" y="929280"/>
                  </a:cubicBezTo>
                  <a:cubicBezTo>
                    <a:pt x="317906" y="937759"/>
                    <a:pt x="314716" y="943132"/>
                    <a:pt x="303637" y="947833"/>
                  </a:cubicBezTo>
                  <a:cubicBezTo>
                    <a:pt x="292306" y="952617"/>
                    <a:pt x="283996" y="953709"/>
                    <a:pt x="276946" y="965210"/>
                  </a:cubicBezTo>
                  <a:cubicBezTo>
                    <a:pt x="268300" y="979229"/>
                    <a:pt x="266202" y="989890"/>
                    <a:pt x="248911" y="997781"/>
                  </a:cubicBezTo>
                  <a:cubicBezTo>
                    <a:pt x="233131" y="1005085"/>
                    <a:pt x="224234" y="1002902"/>
                    <a:pt x="208119" y="1004413"/>
                  </a:cubicBezTo>
                  <a:cubicBezTo>
                    <a:pt x="188981" y="1006260"/>
                    <a:pt x="187303" y="1026324"/>
                    <a:pt x="169257" y="1032116"/>
                  </a:cubicBezTo>
                  <a:cubicBezTo>
                    <a:pt x="140215" y="1041434"/>
                    <a:pt x="102864" y="1019776"/>
                    <a:pt x="86245" y="1052431"/>
                  </a:cubicBezTo>
                  <a:cubicBezTo>
                    <a:pt x="82132" y="1060490"/>
                    <a:pt x="84566" y="1063597"/>
                    <a:pt x="75417" y="1069221"/>
                  </a:cubicBezTo>
                  <a:cubicBezTo>
                    <a:pt x="69458" y="1072915"/>
                    <a:pt x="58043" y="1075349"/>
                    <a:pt x="51328" y="1077364"/>
                  </a:cubicBezTo>
                  <a:cubicBezTo>
                    <a:pt x="34709" y="1082233"/>
                    <a:pt x="17082" y="1084583"/>
                    <a:pt x="4492" y="1068382"/>
                  </a:cubicBezTo>
                  <a:cubicBezTo>
                    <a:pt x="-7847" y="1052599"/>
                    <a:pt x="7765" y="1052935"/>
                    <a:pt x="20859" y="1050585"/>
                  </a:cubicBezTo>
                  <a:cubicBezTo>
                    <a:pt x="36219" y="1047898"/>
                    <a:pt x="45956" y="1035222"/>
                    <a:pt x="60309" y="1029598"/>
                  </a:cubicBezTo>
                  <a:cubicBezTo>
                    <a:pt x="76676" y="1023302"/>
                    <a:pt x="87923" y="1021371"/>
                    <a:pt x="102109" y="1010038"/>
                  </a:cubicBezTo>
                  <a:cubicBezTo>
                    <a:pt x="112852" y="1001391"/>
                    <a:pt x="123176" y="998789"/>
                    <a:pt x="138201" y="1000552"/>
                  </a:cubicBezTo>
                  <a:cubicBezTo>
                    <a:pt x="154988" y="1002482"/>
                    <a:pt x="160360" y="1007351"/>
                    <a:pt x="174796" y="997194"/>
                  </a:cubicBezTo>
                  <a:cubicBezTo>
                    <a:pt x="189065" y="987204"/>
                    <a:pt x="201152" y="974276"/>
                    <a:pt x="214414" y="963699"/>
                  </a:cubicBezTo>
                  <a:cubicBezTo>
                    <a:pt x="237244" y="945482"/>
                    <a:pt x="263516" y="930288"/>
                    <a:pt x="277030" y="902249"/>
                  </a:cubicBezTo>
                  <a:cubicBezTo>
                    <a:pt x="285843" y="883948"/>
                    <a:pt x="289956" y="864809"/>
                    <a:pt x="300951" y="847767"/>
                  </a:cubicBezTo>
                  <a:cubicBezTo>
                    <a:pt x="304896" y="841639"/>
                    <a:pt x="318242" y="827368"/>
                    <a:pt x="316143" y="819729"/>
                  </a:cubicBezTo>
                  <a:cubicBezTo>
                    <a:pt x="313541" y="810327"/>
                    <a:pt x="297929" y="814188"/>
                    <a:pt x="292138" y="819729"/>
                  </a:cubicBezTo>
                  <a:cubicBezTo>
                    <a:pt x="283912" y="827452"/>
                    <a:pt x="285339" y="835930"/>
                    <a:pt x="271406" y="837694"/>
                  </a:cubicBezTo>
                  <a:cubicBezTo>
                    <a:pt x="260830" y="839037"/>
                    <a:pt x="252520" y="836099"/>
                    <a:pt x="243707" y="832069"/>
                  </a:cubicBezTo>
                  <a:cubicBezTo>
                    <a:pt x="228767" y="825101"/>
                    <a:pt x="206272" y="786653"/>
                    <a:pt x="194605" y="799077"/>
                  </a:cubicBezTo>
                  <a:cubicBezTo>
                    <a:pt x="180588" y="814020"/>
                    <a:pt x="176475" y="837777"/>
                    <a:pt x="153813" y="825101"/>
                  </a:cubicBezTo>
                  <a:cubicBezTo>
                    <a:pt x="137697" y="816119"/>
                    <a:pt x="149952" y="787912"/>
                    <a:pt x="151714" y="771878"/>
                  </a:cubicBezTo>
                  <a:cubicBezTo>
                    <a:pt x="153309" y="757439"/>
                    <a:pt x="163717" y="709589"/>
                    <a:pt x="139963" y="710681"/>
                  </a:cubicBezTo>
                  <a:cubicBezTo>
                    <a:pt x="125694" y="711352"/>
                    <a:pt x="118056" y="733430"/>
                    <a:pt x="102444" y="734354"/>
                  </a:cubicBezTo>
                  <a:cubicBezTo>
                    <a:pt x="85909" y="735277"/>
                    <a:pt x="61484" y="708498"/>
                    <a:pt x="54517" y="695402"/>
                  </a:cubicBezTo>
                  <a:cubicBezTo>
                    <a:pt x="44949" y="677521"/>
                    <a:pt x="59218" y="672317"/>
                    <a:pt x="61568" y="657542"/>
                  </a:cubicBezTo>
                  <a:cubicBezTo>
                    <a:pt x="63918" y="642767"/>
                    <a:pt x="46040" y="633449"/>
                    <a:pt x="43186" y="619849"/>
                  </a:cubicBezTo>
                  <a:cubicBezTo>
                    <a:pt x="41256" y="610447"/>
                    <a:pt x="40836" y="589376"/>
                    <a:pt x="44277" y="580562"/>
                  </a:cubicBezTo>
                  <a:cubicBezTo>
                    <a:pt x="48978" y="568725"/>
                    <a:pt x="63666" y="553279"/>
                    <a:pt x="71053" y="543037"/>
                  </a:cubicBezTo>
                  <a:cubicBezTo>
                    <a:pt x="84398" y="524569"/>
                    <a:pt x="89602" y="520203"/>
                    <a:pt x="108907" y="521882"/>
                  </a:cubicBezTo>
                  <a:cubicBezTo>
                    <a:pt x="138620" y="524485"/>
                    <a:pt x="180168" y="513823"/>
                    <a:pt x="203838" y="496278"/>
                  </a:cubicBezTo>
                  <a:cubicBezTo>
                    <a:pt x="219702" y="484525"/>
                    <a:pt x="215169" y="472185"/>
                    <a:pt x="217016" y="454724"/>
                  </a:cubicBezTo>
                  <a:cubicBezTo>
                    <a:pt x="218695" y="439278"/>
                    <a:pt x="228851" y="423915"/>
                    <a:pt x="209797" y="419634"/>
                  </a:cubicBezTo>
                  <a:cubicBezTo>
                    <a:pt x="195864" y="416528"/>
                    <a:pt x="185204" y="428700"/>
                    <a:pt x="170600" y="429456"/>
                  </a:cubicBezTo>
                  <a:cubicBezTo>
                    <a:pt x="152554" y="430379"/>
                    <a:pt x="143908" y="422236"/>
                    <a:pt x="127205" y="418291"/>
                  </a:cubicBezTo>
                  <a:cubicBezTo>
                    <a:pt x="113356" y="415017"/>
                    <a:pt x="100178" y="418039"/>
                    <a:pt x="86832" y="411323"/>
                  </a:cubicBezTo>
                  <a:cubicBezTo>
                    <a:pt x="72563" y="404104"/>
                    <a:pt x="68115" y="392435"/>
                    <a:pt x="57287" y="381858"/>
                  </a:cubicBezTo>
                  <a:cubicBezTo>
                    <a:pt x="44949" y="369937"/>
                    <a:pt x="39913" y="366747"/>
                    <a:pt x="46963" y="348279"/>
                  </a:cubicBezTo>
                  <a:cubicBezTo>
                    <a:pt x="51412" y="336526"/>
                    <a:pt x="61652" y="323850"/>
                    <a:pt x="68534" y="313356"/>
                  </a:cubicBezTo>
                  <a:cubicBezTo>
                    <a:pt x="80873" y="294636"/>
                    <a:pt x="86581" y="299337"/>
                    <a:pt x="107396" y="296567"/>
                  </a:cubicBezTo>
                  <a:cubicBezTo>
                    <a:pt x="126534" y="293964"/>
                    <a:pt x="130311" y="280197"/>
                    <a:pt x="145419" y="295056"/>
                  </a:cubicBezTo>
                  <a:cubicBezTo>
                    <a:pt x="161535" y="310922"/>
                    <a:pt x="196787" y="332245"/>
                    <a:pt x="222472" y="328719"/>
                  </a:cubicBezTo>
                  <a:cubicBezTo>
                    <a:pt x="236489" y="326788"/>
                    <a:pt x="244547" y="314951"/>
                    <a:pt x="240686" y="299673"/>
                  </a:cubicBezTo>
                  <a:cubicBezTo>
                    <a:pt x="236321" y="282128"/>
                    <a:pt x="217435" y="276923"/>
                    <a:pt x="204593" y="268696"/>
                  </a:cubicBezTo>
                  <a:cubicBezTo>
                    <a:pt x="181847" y="254173"/>
                    <a:pt x="161703" y="233774"/>
                    <a:pt x="145419" y="211192"/>
                  </a:cubicBezTo>
                  <a:cubicBezTo>
                    <a:pt x="132577" y="193395"/>
                    <a:pt x="113188" y="174423"/>
                    <a:pt x="113692" y="151002"/>
                  </a:cubicBezTo>
                  <a:cubicBezTo>
                    <a:pt x="114027" y="134296"/>
                    <a:pt x="120155" y="131862"/>
                    <a:pt x="135767" y="133205"/>
                  </a:cubicBezTo>
                  <a:cubicBezTo>
                    <a:pt x="145503" y="134044"/>
                    <a:pt x="154988" y="135387"/>
                    <a:pt x="164808" y="136395"/>
                  </a:cubicBezTo>
                  <a:cubicBezTo>
                    <a:pt x="179245" y="137738"/>
                    <a:pt x="187890" y="140592"/>
                    <a:pt x="192339" y="126069"/>
                  </a:cubicBezTo>
                  <a:cubicBezTo>
                    <a:pt x="196116" y="113813"/>
                    <a:pt x="204761" y="103571"/>
                    <a:pt x="209042" y="92322"/>
                  </a:cubicBezTo>
                  <a:cubicBezTo>
                    <a:pt x="212987" y="81997"/>
                    <a:pt x="215925" y="70412"/>
                    <a:pt x="225661" y="62940"/>
                  </a:cubicBezTo>
                  <a:cubicBezTo>
                    <a:pt x="233299" y="57064"/>
                    <a:pt x="244127" y="56896"/>
                    <a:pt x="253192" y="54965"/>
                  </a:cubicBezTo>
                  <a:cubicBezTo>
                    <a:pt x="263516" y="52783"/>
                    <a:pt x="269811" y="47746"/>
                    <a:pt x="278372" y="41114"/>
                  </a:cubicBezTo>
                  <a:cubicBezTo>
                    <a:pt x="288948" y="32971"/>
                    <a:pt x="294908" y="32971"/>
                    <a:pt x="308002" y="30956"/>
                  </a:cubicBezTo>
                  <a:cubicBezTo>
                    <a:pt x="320592" y="28942"/>
                    <a:pt x="327055" y="23821"/>
                    <a:pt x="334273" y="14167"/>
                  </a:cubicBezTo>
                  <a:cubicBezTo>
                    <a:pt x="341240" y="4849"/>
                    <a:pt x="353243" y="-2791"/>
                    <a:pt x="365581" y="987"/>
                  </a:cubicBezTo>
                  <a:cubicBezTo>
                    <a:pt x="374143" y="3590"/>
                    <a:pt x="382452" y="12236"/>
                    <a:pt x="391769" y="15762"/>
                  </a:cubicBezTo>
                  <a:cubicBezTo>
                    <a:pt x="398987" y="18532"/>
                    <a:pt x="406374" y="22981"/>
                    <a:pt x="414851" y="23065"/>
                  </a:cubicBezTo>
                  <a:cubicBezTo>
                    <a:pt x="424336" y="23149"/>
                    <a:pt x="438773" y="13327"/>
                    <a:pt x="447502" y="18616"/>
                  </a:cubicBezTo>
                  <a:cubicBezTo>
                    <a:pt x="452958" y="21974"/>
                    <a:pt x="452454" y="30537"/>
                    <a:pt x="454552" y="35490"/>
                  </a:cubicBezTo>
                  <a:cubicBezTo>
                    <a:pt x="456567" y="40275"/>
                    <a:pt x="459169" y="40023"/>
                    <a:pt x="463114" y="43548"/>
                  </a:cubicBezTo>
                  <a:cubicBezTo>
                    <a:pt x="482839" y="61597"/>
                    <a:pt x="504578" y="28354"/>
                    <a:pt x="529339" y="38008"/>
                  </a:cubicBezTo>
                  <a:cubicBezTo>
                    <a:pt x="542517" y="43129"/>
                    <a:pt x="541593" y="57820"/>
                    <a:pt x="556786" y="61094"/>
                  </a:cubicBezTo>
                  <a:cubicBezTo>
                    <a:pt x="566270" y="63108"/>
                    <a:pt x="577182" y="60926"/>
                    <a:pt x="588009" y="60926"/>
                  </a:cubicBezTo>
                  <a:cubicBezTo>
                    <a:pt x="614617" y="60926"/>
                    <a:pt x="638622" y="54630"/>
                    <a:pt x="664558" y="54630"/>
                  </a:cubicBezTo>
                  <a:cubicBezTo>
                    <a:pt x="677484" y="54630"/>
                    <a:pt x="688312" y="55469"/>
                    <a:pt x="700231" y="59583"/>
                  </a:cubicBezTo>
                  <a:cubicBezTo>
                    <a:pt x="710051" y="62940"/>
                    <a:pt x="708289" y="63108"/>
                    <a:pt x="711814" y="70412"/>
                  </a:cubicBezTo>
                  <a:cubicBezTo>
                    <a:pt x="717605" y="82416"/>
                    <a:pt x="808675" y="675507"/>
                    <a:pt x="832848" y="690197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2D83843-032E-1B5C-ED20-0CFEAEF07808}"/>
                </a:ext>
              </a:extLst>
            </p:cNvPr>
            <p:cNvSpPr/>
            <p:nvPr/>
          </p:nvSpPr>
          <p:spPr>
            <a:xfrm>
              <a:off x="5343615" y="5972229"/>
              <a:ext cx="99073" cy="118671"/>
            </a:xfrm>
            <a:custGeom>
              <a:avLst/>
              <a:gdLst>
                <a:gd name="connsiteX0" fmla="*/ 44982 w 109685"/>
                <a:gd name="connsiteY0" fmla="*/ 55816 h 131383"/>
                <a:gd name="connsiteX1" fmla="*/ 54383 w 109685"/>
                <a:gd name="connsiteY1" fmla="*/ 46834 h 131383"/>
                <a:gd name="connsiteX2" fmla="*/ 60678 w 109685"/>
                <a:gd name="connsiteY2" fmla="*/ 37683 h 131383"/>
                <a:gd name="connsiteX3" fmla="*/ 81074 w 109685"/>
                <a:gd name="connsiteY3" fmla="*/ 13339 h 131383"/>
                <a:gd name="connsiteX4" fmla="*/ 88796 w 109685"/>
                <a:gd name="connsiteY4" fmla="*/ 2593 h 131383"/>
                <a:gd name="connsiteX5" fmla="*/ 98365 w 109685"/>
                <a:gd name="connsiteY5" fmla="*/ 1082 h 131383"/>
                <a:gd name="connsiteX6" fmla="*/ 108437 w 109685"/>
                <a:gd name="connsiteY6" fmla="*/ 12667 h 131383"/>
                <a:gd name="connsiteX7" fmla="*/ 103569 w 109685"/>
                <a:gd name="connsiteY7" fmla="*/ 28701 h 131383"/>
                <a:gd name="connsiteX8" fmla="*/ 88964 w 109685"/>
                <a:gd name="connsiteY8" fmla="*/ 38607 h 131383"/>
                <a:gd name="connsiteX9" fmla="*/ 100631 w 109685"/>
                <a:gd name="connsiteY9" fmla="*/ 47338 h 131383"/>
                <a:gd name="connsiteX10" fmla="*/ 107514 w 109685"/>
                <a:gd name="connsiteY10" fmla="*/ 64799 h 131383"/>
                <a:gd name="connsiteX11" fmla="*/ 95511 w 109685"/>
                <a:gd name="connsiteY11" fmla="*/ 78734 h 131383"/>
                <a:gd name="connsiteX12" fmla="*/ 69072 w 109685"/>
                <a:gd name="connsiteY12" fmla="*/ 114580 h 131383"/>
                <a:gd name="connsiteX13" fmla="*/ 51781 w 109685"/>
                <a:gd name="connsiteY13" fmla="*/ 125409 h 131383"/>
                <a:gd name="connsiteX14" fmla="*/ 30294 w 109685"/>
                <a:gd name="connsiteY14" fmla="*/ 130949 h 131383"/>
                <a:gd name="connsiteX15" fmla="*/ 17703 w 109685"/>
                <a:gd name="connsiteY15" fmla="*/ 113572 h 131383"/>
                <a:gd name="connsiteX16" fmla="*/ 5197 w 109685"/>
                <a:gd name="connsiteY16" fmla="*/ 75292 h 131383"/>
                <a:gd name="connsiteX17" fmla="*/ 25929 w 109685"/>
                <a:gd name="connsiteY17" fmla="*/ 67065 h 131383"/>
                <a:gd name="connsiteX18" fmla="*/ 44982 w 109685"/>
                <a:gd name="connsiteY18" fmla="*/ 55732 h 131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9685" h="131383">
                  <a:moveTo>
                    <a:pt x="44982" y="55816"/>
                  </a:moveTo>
                  <a:cubicBezTo>
                    <a:pt x="50102" y="52878"/>
                    <a:pt x="51445" y="51703"/>
                    <a:pt x="54383" y="46834"/>
                  </a:cubicBezTo>
                  <a:cubicBezTo>
                    <a:pt x="56314" y="43728"/>
                    <a:pt x="58412" y="40538"/>
                    <a:pt x="60678" y="37683"/>
                  </a:cubicBezTo>
                  <a:cubicBezTo>
                    <a:pt x="67477" y="29205"/>
                    <a:pt x="72933" y="20810"/>
                    <a:pt x="81074" y="13339"/>
                  </a:cubicBezTo>
                  <a:cubicBezTo>
                    <a:pt x="84432" y="10233"/>
                    <a:pt x="85607" y="5112"/>
                    <a:pt x="88796" y="2593"/>
                  </a:cubicBezTo>
                  <a:cubicBezTo>
                    <a:pt x="91566" y="495"/>
                    <a:pt x="95595" y="-1184"/>
                    <a:pt x="98365" y="1082"/>
                  </a:cubicBezTo>
                  <a:cubicBezTo>
                    <a:pt x="104073" y="5783"/>
                    <a:pt x="105080" y="7966"/>
                    <a:pt x="108437" y="12667"/>
                  </a:cubicBezTo>
                  <a:cubicBezTo>
                    <a:pt x="111795" y="17284"/>
                    <a:pt x="107766" y="25679"/>
                    <a:pt x="103569" y="28701"/>
                  </a:cubicBezTo>
                  <a:cubicBezTo>
                    <a:pt x="98869" y="32143"/>
                    <a:pt x="89804" y="31052"/>
                    <a:pt x="88964" y="38607"/>
                  </a:cubicBezTo>
                  <a:cubicBezTo>
                    <a:pt x="88209" y="45658"/>
                    <a:pt x="95931" y="44819"/>
                    <a:pt x="100631" y="47338"/>
                  </a:cubicBezTo>
                  <a:cubicBezTo>
                    <a:pt x="109025" y="51871"/>
                    <a:pt x="112047" y="56991"/>
                    <a:pt x="107514" y="64799"/>
                  </a:cubicBezTo>
                  <a:cubicBezTo>
                    <a:pt x="104241" y="70423"/>
                    <a:pt x="100715" y="74621"/>
                    <a:pt x="95511" y="78734"/>
                  </a:cubicBezTo>
                  <a:cubicBezTo>
                    <a:pt x="83760" y="88052"/>
                    <a:pt x="78472" y="103162"/>
                    <a:pt x="69072" y="114580"/>
                  </a:cubicBezTo>
                  <a:cubicBezTo>
                    <a:pt x="64791" y="119784"/>
                    <a:pt x="57908" y="122638"/>
                    <a:pt x="51781" y="125409"/>
                  </a:cubicBezTo>
                  <a:cubicBezTo>
                    <a:pt x="47332" y="127423"/>
                    <a:pt x="35414" y="132964"/>
                    <a:pt x="30294" y="130949"/>
                  </a:cubicBezTo>
                  <a:cubicBezTo>
                    <a:pt x="25174" y="128934"/>
                    <a:pt x="21984" y="117853"/>
                    <a:pt x="17703" y="113572"/>
                  </a:cubicBezTo>
                  <a:cubicBezTo>
                    <a:pt x="9478" y="105513"/>
                    <a:pt x="-8988" y="87213"/>
                    <a:pt x="5197" y="75292"/>
                  </a:cubicBezTo>
                  <a:cubicBezTo>
                    <a:pt x="10905" y="70507"/>
                    <a:pt x="19046" y="69500"/>
                    <a:pt x="25929" y="67065"/>
                  </a:cubicBezTo>
                  <a:cubicBezTo>
                    <a:pt x="33231" y="64463"/>
                    <a:pt x="38351" y="59510"/>
                    <a:pt x="44982" y="5573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2E365EA-14D6-92E1-A046-8B6030E17476}"/>
                </a:ext>
              </a:extLst>
            </p:cNvPr>
            <p:cNvSpPr/>
            <p:nvPr/>
          </p:nvSpPr>
          <p:spPr>
            <a:xfrm>
              <a:off x="4906193" y="6195580"/>
              <a:ext cx="71044" cy="44543"/>
            </a:xfrm>
            <a:custGeom>
              <a:avLst/>
              <a:gdLst>
                <a:gd name="connsiteX0" fmla="*/ 37567 w 78654"/>
                <a:gd name="connsiteY0" fmla="*/ 4139 h 49314"/>
                <a:gd name="connsiteX1" fmla="*/ 55109 w 78654"/>
                <a:gd name="connsiteY1" fmla="*/ 3216 h 49314"/>
                <a:gd name="connsiteX2" fmla="*/ 75673 w 78654"/>
                <a:gd name="connsiteY2" fmla="*/ 2208 h 49314"/>
                <a:gd name="connsiteX3" fmla="*/ 75841 w 78654"/>
                <a:gd name="connsiteY3" fmla="*/ 20844 h 49314"/>
                <a:gd name="connsiteX4" fmla="*/ 55529 w 78654"/>
                <a:gd name="connsiteY4" fmla="*/ 32177 h 49314"/>
                <a:gd name="connsiteX5" fmla="*/ 30348 w 78654"/>
                <a:gd name="connsiteY5" fmla="*/ 46868 h 49314"/>
                <a:gd name="connsiteX6" fmla="*/ 2818 w 78654"/>
                <a:gd name="connsiteY6" fmla="*/ 46868 h 49314"/>
                <a:gd name="connsiteX7" fmla="*/ 3153 w 78654"/>
                <a:gd name="connsiteY7" fmla="*/ 31002 h 49314"/>
                <a:gd name="connsiteX8" fmla="*/ 14736 w 78654"/>
                <a:gd name="connsiteY8" fmla="*/ 24622 h 49314"/>
                <a:gd name="connsiteX9" fmla="*/ 37483 w 78654"/>
                <a:gd name="connsiteY9" fmla="*/ 3971 h 4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54" h="49314">
                  <a:moveTo>
                    <a:pt x="37567" y="4139"/>
                  </a:moveTo>
                  <a:cubicBezTo>
                    <a:pt x="42435" y="2376"/>
                    <a:pt x="49821" y="3635"/>
                    <a:pt x="55109" y="3216"/>
                  </a:cubicBezTo>
                  <a:cubicBezTo>
                    <a:pt x="61824" y="2544"/>
                    <a:pt x="70973" y="-2997"/>
                    <a:pt x="75673" y="2208"/>
                  </a:cubicBezTo>
                  <a:cubicBezTo>
                    <a:pt x="79870" y="6825"/>
                    <a:pt x="79367" y="15304"/>
                    <a:pt x="75841" y="20844"/>
                  </a:cubicBezTo>
                  <a:cubicBezTo>
                    <a:pt x="71309" y="27896"/>
                    <a:pt x="61908" y="28819"/>
                    <a:pt x="55529" y="32177"/>
                  </a:cubicBezTo>
                  <a:cubicBezTo>
                    <a:pt x="45960" y="37214"/>
                    <a:pt x="41680" y="46281"/>
                    <a:pt x="30348" y="46868"/>
                  </a:cubicBezTo>
                  <a:cubicBezTo>
                    <a:pt x="23466" y="47288"/>
                    <a:pt x="8609" y="52157"/>
                    <a:pt x="2818" y="46868"/>
                  </a:cubicBezTo>
                  <a:cubicBezTo>
                    <a:pt x="-1547" y="42923"/>
                    <a:pt x="-372" y="35200"/>
                    <a:pt x="3153" y="31002"/>
                  </a:cubicBezTo>
                  <a:cubicBezTo>
                    <a:pt x="6343" y="27224"/>
                    <a:pt x="10624" y="27308"/>
                    <a:pt x="14736" y="24622"/>
                  </a:cubicBezTo>
                  <a:cubicBezTo>
                    <a:pt x="23130" y="19249"/>
                    <a:pt x="27830" y="7496"/>
                    <a:pt x="37483" y="397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92CE21C-C540-C699-9B78-70110CCF44AE}"/>
                </a:ext>
              </a:extLst>
            </p:cNvPr>
            <p:cNvSpPr/>
            <p:nvPr/>
          </p:nvSpPr>
          <p:spPr>
            <a:xfrm>
              <a:off x="4819893" y="6212521"/>
              <a:ext cx="70758" cy="50725"/>
            </a:xfrm>
            <a:custGeom>
              <a:avLst/>
              <a:gdLst>
                <a:gd name="connsiteX0" fmla="*/ 25339 w 78337"/>
                <a:gd name="connsiteY0" fmla="*/ 24502 h 56159"/>
                <a:gd name="connsiteX1" fmla="*/ 37258 w 78337"/>
                <a:gd name="connsiteY1" fmla="*/ 15016 h 56159"/>
                <a:gd name="connsiteX2" fmla="*/ 71923 w 78337"/>
                <a:gd name="connsiteY2" fmla="*/ 1753 h 56159"/>
                <a:gd name="connsiteX3" fmla="*/ 74442 w 78337"/>
                <a:gd name="connsiteY3" fmla="*/ 31638 h 56159"/>
                <a:gd name="connsiteX4" fmla="*/ 46491 w 78337"/>
                <a:gd name="connsiteY4" fmla="*/ 45993 h 56159"/>
                <a:gd name="connsiteX5" fmla="*/ 10399 w 78337"/>
                <a:gd name="connsiteY5" fmla="*/ 55479 h 56159"/>
                <a:gd name="connsiteX6" fmla="*/ 579 w 78337"/>
                <a:gd name="connsiteY6" fmla="*/ 43559 h 56159"/>
                <a:gd name="connsiteX7" fmla="*/ 25256 w 78337"/>
                <a:gd name="connsiteY7" fmla="*/ 24502 h 56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8337" h="56159">
                  <a:moveTo>
                    <a:pt x="25339" y="24502"/>
                  </a:moveTo>
                  <a:cubicBezTo>
                    <a:pt x="29536" y="21480"/>
                    <a:pt x="32978" y="17787"/>
                    <a:pt x="37258" y="15016"/>
                  </a:cubicBezTo>
                  <a:cubicBezTo>
                    <a:pt x="45904" y="9392"/>
                    <a:pt x="63362" y="-4963"/>
                    <a:pt x="71923" y="1753"/>
                  </a:cubicBezTo>
                  <a:cubicBezTo>
                    <a:pt x="79813" y="7881"/>
                    <a:pt x="80149" y="22656"/>
                    <a:pt x="74442" y="31638"/>
                  </a:cubicBezTo>
                  <a:cubicBezTo>
                    <a:pt x="69070" y="40117"/>
                    <a:pt x="54717" y="40788"/>
                    <a:pt x="46491" y="45993"/>
                  </a:cubicBezTo>
                  <a:cubicBezTo>
                    <a:pt x="36167" y="52457"/>
                    <a:pt x="22905" y="58165"/>
                    <a:pt x="10399" y="55479"/>
                  </a:cubicBezTo>
                  <a:cubicBezTo>
                    <a:pt x="3768" y="54052"/>
                    <a:pt x="-1856" y="50862"/>
                    <a:pt x="579" y="43559"/>
                  </a:cubicBezTo>
                  <a:cubicBezTo>
                    <a:pt x="4272" y="32646"/>
                    <a:pt x="17114" y="30379"/>
                    <a:pt x="25256" y="2450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8AF2261-0073-A5BE-7115-2CD46193DC4B}"/>
                </a:ext>
              </a:extLst>
            </p:cNvPr>
            <p:cNvSpPr/>
            <p:nvPr/>
          </p:nvSpPr>
          <p:spPr>
            <a:xfrm>
              <a:off x="4981659" y="5832993"/>
              <a:ext cx="55061" cy="44257"/>
            </a:xfrm>
            <a:custGeom>
              <a:avLst/>
              <a:gdLst>
                <a:gd name="connsiteX0" fmla="*/ 49620 w 60959"/>
                <a:gd name="connsiteY0" fmla="*/ 4294 h 48998"/>
                <a:gd name="connsiteX1" fmla="*/ 57174 w 60959"/>
                <a:gd name="connsiteY1" fmla="*/ 42490 h 48998"/>
                <a:gd name="connsiteX2" fmla="*/ 11093 w 60959"/>
                <a:gd name="connsiteY2" fmla="*/ 36866 h 48998"/>
                <a:gd name="connsiteX3" fmla="*/ 350 w 60959"/>
                <a:gd name="connsiteY3" fmla="*/ 21084 h 48998"/>
                <a:gd name="connsiteX4" fmla="*/ 49620 w 60959"/>
                <a:gd name="connsiteY4" fmla="*/ 4294 h 48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59" h="48998">
                  <a:moveTo>
                    <a:pt x="49620" y="4294"/>
                  </a:moveTo>
                  <a:cubicBezTo>
                    <a:pt x="61119" y="9499"/>
                    <a:pt x="64308" y="32669"/>
                    <a:pt x="57174" y="42490"/>
                  </a:cubicBezTo>
                  <a:cubicBezTo>
                    <a:pt x="46766" y="56846"/>
                    <a:pt x="21753" y="44001"/>
                    <a:pt x="11093" y="36866"/>
                  </a:cubicBezTo>
                  <a:cubicBezTo>
                    <a:pt x="5302" y="33004"/>
                    <a:pt x="1525" y="27547"/>
                    <a:pt x="350" y="21084"/>
                  </a:cubicBezTo>
                  <a:cubicBezTo>
                    <a:pt x="-4099" y="-4437"/>
                    <a:pt x="35099" y="-2254"/>
                    <a:pt x="49620" y="429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6AC0C64-80F0-3E0B-63A5-E0783E473A1C}"/>
                </a:ext>
              </a:extLst>
            </p:cNvPr>
            <p:cNvSpPr/>
            <p:nvPr/>
          </p:nvSpPr>
          <p:spPr>
            <a:xfrm>
              <a:off x="4911266" y="5605512"/>
              <a:ext cx="83003" cy="59257"/>
            </a:xfrm>
            <a:custGeom>
              <a:avLst/>
              <a:gdLst>
                <a:gd name="connsiteX0" fmla="*/ 34301 w 91894"/>
                <a:gd name="connsiteY0" fmla="*/ 39726 h 65604"/>
                <a:gd name="connsiteX1" fmla="*/ 48906 w 91894"/>
                <a:gd name="connsiteY1" fmla="*/ 63483 h 65604"/>
                <a:gd name="connsiteX2" fmla="*/ 88271 w 91894"/>
                <a:gd name="connsiteY2" fmla="*/ 55592 h 65604"/>
                <a:gd name="connsiteX3" fmla="*/ 63594 w 91894"/>
                <a:gd name="connsiteY3" fmla="*/ 31415 h 65604"/>
                <a:gd name="connsiteX4" fmla="*/ 53606 w 91894"/>
                <a:gd name="connsiteY4" fmla="*/ 10428 h 65604"/>
                <a:gd name="connsiteX5" fmla="*/ 9456 w 91894"/>
                <a:gd name="connsiteY5" fmla="*/ 2369 h 65604"/>
                <a:gd name="connsiteX6" fmla="*/ 34217 w 91894"/>
                <a:gd name="connsiteY6" fmla="*/ 39726 h 65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894" h="65604">
                  <a:moveTo>
                    <a:pt x="34301" y="39726"/>
                  </a:moveTo>
                  <a:cubicBezTo>
                    <a:pt x="40848" y="46777"/>
                    <a:pt x="39924" y="58614"/>
                    <a:pt x="48906" y="63483"/>
                  </a:cubicBezTo>
                  <a:cubicBezTo>
                    <a:pt x="58558" y="68688"/>
                    <a:pt x="81137" y="63651"/>
                    <a:pt x="88271" y="55592"/>
                  </a:cubicBezTo>
                  <a:cubicBezTo>
                    <a:pt x="102624" y="39474"/>
                    <a:pt x="70141" y="40817"/>
                    <a:pt x="63594" y="31415"/>
                  </a:cubicBezTo>
                  <a:cubicBezTo>
                    <a:pt x="58642" y="24448"/>
                    <a:pt x="60908" y="17732"/>
                    <a:pt x="53606" y="10428"/>
                  </a:cubicBezTo>
                  <a:cubicBezTo>
                    <a:pt x="44793" y="1614"/>
                    <a:pt x="20703" y="-3171"/>
                    <a:pt x="9456" y="2369"/>
                  </a:cubicBezTo>
                  <a:cubicBezTo>
                    <a:pt x="-19502" y="16472"/>
                    <a:pt x="26579" y="31499"/>
                    <a:pt x="34217" y="3972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F89863B-3E71-E083-7225-05971C6B7C64}"/>
                </a:ext>
              </a:extLst>
            </p:cNvPr>
            <p:cNvSpPr/>
            <p:nvPr/>
          </p:nvSpPr>
          <p:spPr>
            <a:xfrm>
              <a:off x="5229914" y="4545533"/>
              <a:ext cx="41490" cy="36167"/>
            </a:xfrm>
            <a:custGeom>
              <a:avLst/>
              <a:gdLst>
                <a:gd name="connsiteX0" fmla="*/ 43617 w 45934"/>
                <a:gd name="connsiteY0" fmla="*/ 35209 h 40041"/>
                <a:gd name="connsiteX1" fmla="*/ 223 w 45934"/>
                <a:gd name="connsiteY1" fmla="*/ 12795 h 40041"/>
                <a:gd name="connsiteX2" fmla="*/ 5007 w 45934"/>
                <a:gd name="connsiteY2" fmla="*/ 2974 h 40041"/>
                <a:gd name="connsiteX3" fmla="*/ 33965 w 45934"/>
                <a:gd name="connsiteY3" fmla="*/ 13635 h 40041"/>
                <a:gd name="connsiteX4" fmla="*/ 43617 w 45934"/>
                <a:gd name="connsiteY4" fmla="*/ 35209 h 4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34" h="40041">
                  <a:moveTo>
                    <a:pt x="43617" y="35209"/>
                  </a:moveTo>
                  <a:cubicBezTo>
                    <a:pt x="34049" y="50656"/>
                    <a:pt x="2741" y="25220"/>
                    <a:pt x="223" y="12795"/>
                  </a:cubicBezTo>
                  <a:cubicBezTo>
                    <a:pt x="-701" y="8178"/>
                    <a:pt x="1314" y="5240"/>
                    <a:pt x="5007" y="2974"/>
                  </a:cubicBezTo>
                  <a:cubicBezTo>
                    <a:pt x="18940" y="-5421"/>
                    <a:pt x="25235" y="5828"/>
                    <a:pt x="33965" y="13635"/>
                  </a:cubicBezTo>
                  <a:cubicBezTo>
                    <a:pt x="41015" y="19931"/>
                    <a:pt x="50332" y="24380"/>
                    <a:pt x="43617" y="3520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8FF90D4-D20F-B30F-6674-AC5B639B1616}"/>
                </a:ext>
              </a:extLst>
            </p:cNvPr>
            <p:cNvSpPr/>
            <p:nvPr/>
          </p:nvSpPr>
          <p:spPr>
            <a:xfrm>
              <a:off x="5207037" y="4622032"/>
              <a:ext cx="35939" cy="35146"/>
            </a:xfrm>
            <a:custGeom>
              <a:avLst/>
              <a:gdLst>
                <a:gd name="connsiteX0" fmla="*/ 34614 w 39789"/>
                <a:gd name="connsiteY0" fmla="*/ 17001 h 38911"/>
                <a:gd name="connsiteX1" fmla="*/ 36461 w 39789"/>
                <a:gd name="connsiteY1" fmla="*/ 36310 h 38911"/>
                <a:gd name="connsiteX2" fmla="*/ 33 w 39789"/>
                <a:gd name="connsiteY2" fmla="*/ 15994 h 38911"/>
                <a:gd name="connsiteX3" fmla="*/ 14974 w 39789"/>
                <a:gd name="connsiteY3" fmla="*/ 128 h 38911"/>
                <a:gd name="connsiteX4" fmla="*/ 34531 w 39789"/>
                <a:gd name="connsiteY4" fmla="*/ 17001 h 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789" h="38911">
                  <a:moveTo>
                    <a:pt x="34614" y="17001"/>
                  </a:moveTo>
                  <a:cubicBezTo>
                    <a:pt x="37468" y="22962"/>
                    <a:pt x="43596" y="31273"/>
                    <a:pt x="36461" y="36310"/>
                  </a:cubicBezTo>
                  <a:cubicBezTo>
                    <a:pt x="23787" y="45292"/>
                    <a:pt x="1040" y="29174"/>
                    <a:pt x="33" y="15994"/>
                  </a:cubicBezTo>
                  <a:cubicBezTo>
                    <a:pt x="-554" y="8271"/>
                    <a:pt x="6748" y="-1215"/>
                    <a:pt x="14974" y="128"/>
                  </a:cubicBezTo>
                  <a:cubicBezTo>
                    <a:pt x="22696" y="1471"/>
                    <a:pt x="31257" y="10202"/>
                    <a:pt x="34531" y="1700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AE463EE7-3328-EA40-5E94-FD689CC470B7}"/>
                </a:ext>
              </a:extLst>
            </p:cNvPr>
            <p:cNvSpPr/>
            <p:nvPr/>
          </p:nvSpPr>
          <p:spPr>
            <a:xfrm>
              <a:off x="5084393" y="4532894"/>
              <a:ext cx="31276" cy="25198"/>
            </a:xfrm>
            <a:custGeom>
              <a:avLst/>
              <a:gdLst>
                <a:gd name="connsiteX0" fmla="*/ 33918 w 34626"/>
                <a:gd name="connsiteY0" fmla="*/ 22589 h 27897"/>
                <a:gd name="connsiteX1" fmla="*/ 14948 w 34626"/>
                <a:gd name="connsiteY1" fmla="*/ 27794 h 27897"/>
                <a:gd name="connsiteX2" fmla="*/ 6471 w 34626"/>
                <a:gd name="connsiteY2" fmla="*/ 2022 h 27897"/>
                <a:gd name="connsiteX3" fmla="*/ 33834 w 34626"/>
                <a:gd name="connsiteY3" fmla="*/ 22673 h 2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626" h="27897">
                  <a:moveTo>
                    <a:pt x="33918" y="22589"/>
                  </a:moveTo>
                  <a:cubicBezTo>
                    <a:pt x="31651" y="28298"/>
                    <a:pt x="19732" y="28046"/>
                    <a:pt x="14948" y="27794"/>
                  </a:cubicBezTo>
                  <a:cubicBezTo>
                    <a:pt x="2022" y="27038"/>
                    <a:pt x="-6539" y="10417"/>
                    <a:pt x="6471" y="2022"/>
                  </a:cubicBezTo>
                  <a:cubicBezTo>
                    <a:pt x="18054" y="-5533"/>
                    <a:pt x="38954" y="9577"/>
                    <a:pt x="33834" y="22673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493A44B-C9B9-B49F-28B2-296871824FCC}"/>
                </a:ext>
              </a:extLst>
            </p:cNvPr>
            <p:cNvSpPr/>
            <p:nvPr/>
          </p:nvSpPr>
          <p:spPr>
            <a:xfrm>
              <a:off x="5081049" y="4403261"/>
              <a:ext cx="38487" cy="33256"/>
            </a:xfrm>
            <a:custGeom>
              <a:avLst/>
              <a:gdLst>
                <a:gd name="connsiteX0" fmla="*/ 41734 w 42610"/>
                <a:gd name="connsiteY0" fmla="*/ 18529 h 36818"/>
                <a:gd name="connsiteX1" fmla="*/ 28975 w 42610"/>
                <a:gd name="connsiteY1" fmla="*/ 36746 h 36818"/>
                <a:gd name="connsiteX2" fmla="*/ 7488 w 42610"/>
                <a:gd name="connsiteY2" fmla="*/ 27595 h 36818"/>
                <a:gd name="connsiteX3" fmla="*/ 10258 w 42610"/>
                <a:gd name="connsiteY3" fmla="*/ 1068 h 36818"/>
                <a:gd name="connsiteX4" fmla="*/ 41734 w 42610"/>
                <a:gd name="connsiteY4" fmla="*/ 18529 h 3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10" h="36818">
                  <a:moveTo>
                    <a:pt x="41734" y="18529"/>
                  </a:moveTo>
                  <a:cubicBezTo>
                    <a:pt x="45091" y="29442"/>
                    <a:pt x="38376" y="35403"/>
                    <a:pt x="28975" y="36746"/>
                  </a:cubicBezTo>
                  <a:cubicBezTo>
                    <a:pt x="23016" y="37585"/>
                    <a:pt x="12776" y="30954"/>
                    <a:pt x="7488" y="27595"/>
                  </a:cubicBezTo>
                  <a:cubicBezTo>
                    <a:pt x="-3843" y="20376"/>
                    <a:pt x="-1829" y="4930"/>
                    <a:pt x="10258" y="1068"/>
                  </a:cubicBezTo>
                  <a:cubicBezTo>
                    <a:pt x="23520" y="-3213"/>
                    <a:pt x="37956" y="5937"/>
                    <a:pt x="41734" y="1852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3B40FBB9-38B0-89A6-09B7-D9A7AE7FFC8C}"/>
                </a:ext>
              </a:extLst>
            </p:cNvPr>
            <p:cNvSpPr/>
            <p:nvPr/>
          </p:nvSpPr>
          <p:spPr>
            <a:xfrm>
              <a:off x="5031819" y="4402975"/>
              <a:ext cx="28318" cy="23577"/>
            </a:xfrm>
            <a:custGeom>
              <a:avLst/>
              <a:gdLst>
                <a:gd name="connsiteX0" fmla="*/ 31186 w 31351"/>
                <a:gd name="connsiteY0" fmla="*/ 19602 h 26102"/>
                <a:gd name="connsiteX1" fmla="*/ 214 w 31351"/>
                <a:gd name="connsiteY1" fmla="*/ 13054 h 26102"/>
                <a:gd name="connsiteX2" fmla="*/ 31186 w 31351"/>
                <a:gd name="connsiteY2" fmla="*/ 19602 h 2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51" h="26102">
                  <a:moveTo>
                    <a:pt x="31186" y="19602"/>
                  </a:moveTo>
                  <a:cubicBezTo>
                    <a:pt x="29592" y="33033"/>
                    <a:pt x="2061" y="23044"/>
                    <a:pt x="214" y="13054"/>
                  </a:cubicBezTo>
                  <a:cubicBezTo>
                    <a:pt x="-3143" y="-5163"/>
                    <a:pt x="34124" y="-5499"/>
                    <a:pt x="31186" y="1960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FB4B31C-99E1-C1D3-0372-1966225834B6}"/>
                </a:ext>
              </a:extLst>
            </p:cNvPr>
            <p:cNvSpPr/>
            <p:nvPr/>
          </p:nvSpPr>
          <p:spPr>
            <a:xfrm>
              <a:off x="9157464" y="2372299"/>
              <a:ext cx="88535" cy="77257"/>
            </a:xfrm>
            <a:custGeom>
              <a:avLst/>
              <a:gdLst>
                <a:gd name="connsiteX0" fmla="*/ 95329 w 98019"/>
                <a:gd name="connsiteY0" fmla="*/ 4483 h 85532"/>
                <a:gd name="connsiteX1" fmla="*/ 66203 w 98019"/>
                <a:gd name="connsiteY1" fmla="*/ 11535 h 85532"/>
                <a:gd name="connsiteX2" fmla="*/ 38085 w 98019"/>
                <a:gd name="connsiteY2" fmla="*/ 27317 h 85532"/>
                <a:gd name="connsiteX3" fmla="*/ 18192 w 98019"/>
                <a:gd name="connsiteY3" fmla="*/ 45954 h 85532"/>
                <a:gd name="connsiteX4" fmla="*/ 62 w 98019"/>
                <a:gd name="connsiteY4" fmla="*/ 74664 h 85532"/>
                <a:gd name="connsiteX5" fmla="*/ 17605 w 98019"/>
                <a:gd name="connsiteY5" fmla="*/ 81128 h 85532"/>
                <a:gd name="connsiteX6" fmla="*/ 31873 w 98019"/>
                <a:gd name="connsiteY6" fmla="*/ 56699 h 85532"/>
                <a:gd name="connsiteX7" fmla="*/ 57977 w 98019"/>
                <a:gd name="connsiteY7" fmla="*/ 46038 h 85532"/>
                <a:gd name="connsiteX8" fmla="*/ 95412 w 98019"/>
                <a:gd name="connsiteY8" fmla="*/ 4483 h 85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019" h="85532">
                  <a:moveTo>
                    <a:pt x="95329" y="4483"/>
                  </a:moveTo>
                  <a:cubicBezTo>
                    <a:pt x="87774" y="-8277"/>
                    <a:pt x="68217" y="10108"/>
                    <a:pt x="66203" y="11535"/>
                  </a:cubicBezTo>
                  <a:cubicBezTo>
                    <a:pt x="57138" y="17915"/>
                    <a:pt x="47653" y="21861"/>
                    <a:pt x="38085" y="27317"/>
                  </a:cubicBezTo>
                  <a:cubicBezTo>
                    <a:pt x="27928" y="33110"/>
                    <a:pt x="25578" y="38398"/>
                    <a:pt x="18192" y="45954"/>
                  </a:cubicBezTo>
                  <a:cubicBezTo>
                    <a:pt x="8707" y="55608"/>
                    <a:pt x="-861" y="58798"/>
                    <a:pt x="62" y="74664"/>
                  </a:cubicBezTo>
                  <a:cubicBezTo>
                    <a:pt x="649" y="85409"/>
                    <a:pt x="9631" y="89355"/>
                    <a:pt x="17605" y="81128"/>
                  </a:cubicBezTo>
                  <a:cubicBezTo>
                    <a:pt x="23816" y="74748"/>
                    <a:pt x="23900" y="63247"/>
                    <a:pt x="31873" y="56699"/>
                  </a:cubicBezTo>
                  <a:cubicBezTo>
                    <a:pt x="38672" y="51158"/>
                    <a:pt x="49919" y="50151"/>
                    <a:pt x="57977" y="46038"/>
                  </a:cubicBezTo>
                  <a:cubicBezTo>
                    <a:pt x="76443" y="36551"/>
                    <a:pt x="107163" y="24211"/>
                    <a:pt x="95412" y="4483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7E45A5D3-3D1C-C2FE-751A-ABEDBD7C9073}"/>
                </a:ext>
              </a:extLst>
            </p:cNvPr>
            <p:cNvSpPr/>
            <p:nvPr/>
          </p:nvSpPr>
          <p:spPr>
            <a:xfrm>
              <a:off x="11011178" y="3270786"/>
              <a:ext cx="178315" cy="395477"/>
            </a:xfrm>
            <a:custGeom>
              <a:avLst/>
              <a:gdLst>
                <a:gd name="connsiteX0" fmla="*/ 165772 w 197415"/>
                <a:gd name="connsiteY0" fmla="*/ 56413 h 437839"/>
                <a:gd name="connsiteX1" fmla="*/ 161324 w 197415"/>
                <a:gd name="connsiteY1" fmla="*/ 37944 h 437839"/>
                <a:gd name="connsiteX2" fmla="*/ 143530 w 197415"/>
                <a:gd name="connsiteY2" fmla="*/ 28710 h 437839"/>
                <a:gd name="connsiteX3" fmla="*/ 136730 w 197415"/>
                <a:gd name="connsiteY3" fmla="*/ 26108 h 437839"/>
                <a:gd name="connsiteX4" fmla="*/ 70673 w 197415"/>
                <a:gd name="connsiteY4" fmla="*/ 5540 h 437839"/>
                <a:gd name="connsiteX5" fmla="*/ 64798 w 197415"/>
                <a:gd name="connsiteY5" fmla="*/ 4029 h 437839"/>
                <a:gd name="connsiteX6" fmla="*/ 57747 w 197415"/>
                <a:gd name="connsiteY6" fmla="*/ 2351 h 437839"/>
                <a:gd name="connsiteX7" fmla="*/ 48347 w 197415"/>
                <a:gd name="connsiteY7" fmla="*/ 0 h 437839"/>
                <a:gd name="connsiteX8" fmla="*/ 40960 w 197415"/>
                <a:gd name="connsiteY8" fmla="*/ 7303 h 437839"/>
                <a:gd name="connsiteX9" fmla="*/ 34078 w 197415"/>
                <a:gd name="connsiteY9" fmla="*/ 14523 h 437839"/>
                <a:gd name="connsiteX10" fmla="*/ 31224 w 197415"/>
                <a:gd name="connsiteY10" fmla="*/ 27367 h 437839"/>
                <a:gd name="connsiteX11" fmla="*/ 29209 w 197415"/>
                <a:gd name="connsiteY11" fmla="*/ 38868 h 437839"/>
                <a:gd name="connsiteX12" fmla="*/ 17627 w 197415"/>
                <a:gd name="connsiteY12" fmla="*/ 65731 h 437839"/>
                <a:gd name="connsiteX13" fmla="*/ 6463 w 197415"/>
                <a:gd name="connsiteY13" fmla="*/ 91671 h 437839"/>
                <a:gd name="connsiteX14" fmla="*/ 3022 w 197415"/>
                <a:gd name="connsiteY14" fmla="*/ 123487 h 437839"/>
                <a:gd name="connsiteX15" fmla="*/ 18130 w 197415"/>
                <a:gd name="connsiteY15" fmla="*/ 147664 h 437839"/>
                <a:gd name="connsiteX16" fmla="*/ 25349 w 197415"/>
                <a:gd name="connsiteY16" fmla="*/ 156143 h 437839"/>
                <a:gd name="connsiteX17" fmla="*/ 53467 w 197415"/>
                <a:gd name="connsiteY17" fmla="*/ 182754 h 437839"/>
                <a:gd name="connsiteX18" fmla="*/ 65721 w 197415"/>
                <a:gd name="connsiteY18" fmla="*/ 189050 h 437839"/>
                <a:gd name="connsiteX19" fmla="*/ 81333 w 197415"/>
                <a:gd name="connsiteY19" fmla="*/ 197948 h 437839"/>
                <a:gd name="connsiteX20" fmla="*/ 73275 w 197415"/>
                <a:gd name="connsiteY20" fmla="*/ 267877 h 437839"/>
                <a:gd name="connsiteX21" fmla="*/ 70673 w 197415"/>
                <a:gd name="connsiteY21" fmla="*/ 270563 h 437839"/>
                <a:gd name="connsiteX22" fmla="*/ 50613 w 197415"/>
                <a:gd name="connsiteY22" fmla="*/ 288444 h 437839"/>
                <a:gd name="connsiteX23" fmla="*/ 34917 w 197415"/>
                <a:gd name="connsiteY23" fmla="*/ 295580 h 437839"/>
                <a:gd name="connsiteX24" fmla="*/ 19977 w 197415"/>
                <a:gd name="connsiteY24" fmla="*/ 302547 h 437839"/>
                <a:gd name="connsiteX25" fmla="*/ 0 w 197415"/>
                <a:gd name="connsiteY25" fmla="*/ 309263 h 437839"/>
                <a:gd name="connsiteX26" fmla="*/ 923 w 197415"/>
                <a:gd name="connsiteY26" fmla="*/ 311446 h 437839"/>
                <a:gd name="connsiteX27" fmla="*/ 3777 w 197415"/>
                <a:gd name="connsiteY27" fmla="*/ 319253 h 437839"/>
                <a:gd name="connsiteX28" fmla="*/ 3945 w 197415"/>
                <a:gd name="connsiteY28" fmla="*/ 328487 h 437839"/>
                <a:gd name="connsiteX29" fmla="*/ 3945 w 197415"/>
                <a:gd name="connsiteY29" fmla="*/ 335287 h 437839"/>
                <a:gd name="connsiteX30" fmla="*/ 15696 w 197415"/>
                <a:gd name="connsiteY30" fmla="*/ 353084 h 437839"/>
                <a:gd name="connsiteX31" fmla="*/ 16703 w 197415"/>
                <a:gd name="connsiteY31" fmla="*/ 354091 h 437839"/>
                <a:gd name="connsiteX32" fmla="*/ 27447 w 197415"/>
                <a:gd name="connsiteY32" fmla="*/ 367103 h 437839"/>
                <a:gd name="connsiteX33" fmla="*/ 55230 w 197415"/>
                <a:gd name="connsiteY33" fmla="*/ 391951 h 437839"/>
                <a:gd name="connsiteX34" fmla="*/ 57412 w 197415"/>
                <a:gd name="connsiteY34" fmla="*/ 392539 h 437839"/>
                <a:gd name="connsiteX35" fmla="*/ 58083 w 197415"/>
                <a:gd name="connsiteY35" fmla="*/ 394638 h 437839"/>
                <a:gd name="connsiteX36" fmla="*/ 61693 w 197415"/>
                <a:gd name="connsiteY36" fmla="*/ 402781 h 437839"/>
                <a:gd name="connsiteX37" fmla="*/ 89811 w 197415"/>
                <a:gd name="connsiteY37" fmla="*/ 414114 h 437839"/>
                <a:gd name="connsiteX38" fmla="*/ 101478 w 197415"/>
                <a:gd name="connsiteY38" fmla="*/ 436024 h 437839"/>
                <a:gd name="connsiteX39" fmla="*/ 174921 w 197415"/>
                <a:gd name="connsiteY39" fmla="*/ 306493 h 437839"/>
                <a:gd name="connsiteX40" fmla="*/ 185581 w 197415"/>
                <a:gd name="connsiteY40" fmla="*/ 252850 h 437839"/>
                <a:gd name="connsiteX41" fmla="*/ 197416 w 197415"/>
                <a:gd name="connsiteY41" fmla="*/ 194759 h 437839"/>
                <a:gd name="connsiteX42" fmla="*/ 191960 w 197415"/>
                <a:gd name="connsiteY42" fmla="*/ 148168 h 437839"/>
                <a:gd name="connsiteX43" fmla="*/ 171060 w 197415"/>
                <a:gd name="connsiteY43" fmla="*/ 125082 h 437839"/>
                <a:gd name="connsiteX44" fmla="*/ 165604 w 197415"/>
                <a:gd name="connsiteY44" fmla="*/ 62121 h 437839"/>
                <a:gd name="connsiteX45" fmla="*/ 165688 w 197415"/>
                <a:gd name="connsiteY45" fmla="*/ 56497 h 437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97415" h="437839">
                  <a:moveTo>
                    <a:pt x="165772" y="56413"/>
                  </a:moveTo>
                  <a:cubicBezTo>
                    <a:pt x="166024" y="48606"/>
                    <a:pt x="166192" y="42981"/>
                    <a:pt x="161324" y="37944"/>
                  </a:cubicBezTo>
                  <a:cubicBezTo>
                    <a:pt x="157295" y="33831"/>
                    <a:pt x="150328" y="31229"/>
                    <a:pt x="143530" y="28710"/>
                  </a:cubicBezTo>
                  <a:cubicBezTo>
                    <a:pt x="141179" y="27787"/>
                    <a:pt x="138829" y="26947"/>
                    <a:pt x="136730" y="26108"/>
                  </a:cubicBezTo>
                  <a:cubicBezTo>
                    <a:pt x="115663" y="17125"/>
                    <a:pt x="92748" y="11249"/>
                    <a:pt x="70673" y="5540"/>
                  </a:cubicBezTo>
                  <a:lnTo>
                    <a:pt x="64798" y="4029"/>
                  </a:lnTo>
                  <a:cubicBezTo>
                    <a:pt x="62364" y="3442"/>
                    <a:pt x="60014" y="2854"/>
                    <a:pt x="57747" y="2351"/>
                  </a:cubicBezTo>
                  <a:cubicBezTo>
                    <a:pt x="54558" y="1595"/>
                    <a:pt x="51452" y="923"/>
                    <a:pt x="48347" y="0"/>
                  </a:cubicBezTo>
                  <a:cubicBezTo>
                    <a:pt x="46164" y="2938"/>
                    <a:pt x="43478" y="5205"/>
                    <a:pt x="40960" y="7303"/>
                  </a:cubicBezTo>
                  <a:cubicBezTo>
                    <a:pt x="38106" y="9654"/>
                    <a:pt x="35504" y="11837"/>
                    <a:pt x="34078" y="14523"/>
                  </a:cubicBezTo>
                  <a:cubicBezTo>
                    <a:pt x="32315" y="17797"/>
                    <a:pt x="31811" y="22414"/>
                    <a:pt x="31224" y="27367"/>
                  </a:cubicBezTo>
                  <a:cubicBezTo>
                    <a:pt x="30804" y="31229"/>
                    <a:pt x="30300" y="35174"/>
                    <a:pt x="29209" y="38868"/>
                  </a:cubicBezTo>
                  <a:cubicBezTo>
                    <a:pt x="26356" y="48270"/>
                    <a:pt x="21907" y="57084"/>
                    <a:pt x="17627" y="65731"/>
                  </a:cubicBezTo>
                  <a:cubicBezTo>
                    <a:pt x="13178" y="74545"/>
                    <a:pt x="9065" y="82856"/>
                    <a:pt x="6463" y="91671"/>
                  </a:cubicBezTo>
                  <a:cubicBezTo>
                    <a:pt x="4449" y="98638"/>
                    <a:pt x="1259" y="112154"/>
                    <a:pt x="3022" y="123487"/>
                  </a:cubicBezTo>
                  <a:cubicBezTo>
                    <a:pt x="4281" y="132050"/>
                    <a:pt x="11332" y="140025"/>
                    <a:pt x="18130" y="147664"/>
                  </a:cubicBezTo>
                  <a:cubicBezTo>
                    <a:pt x="20648" y="150518"/>
                    <a:pt x="23166" y="153288"/>
                    <a:pt x="25349" y="156143"/>
                  </a:cubicBezTo>
                  <a:cubicBezTo>
                    <a:pt x="33490" y="166636"/>
                    <a:pt x="42555" y="174107"/>
                    <a:pt x="53467" y="182754"/>
                  </a:cubicBezTo>
                  <a:cubicBezTo>
                    <a:pt x="56740" y="185356"/>
                    <a:pt x="61357" y="187203"/>
                    <a:pt x="65721" y="189050"/>
                  </a:cubicBezTo>
                  <a:cubicBezTo>
                    <a:pt x="71345" y="191401"/>
                    <a:pt x="77220" y="193751"/>
                    <a:pt x="81333" y="197948"/>
                  </a:cubicBezTo>
                  <a:cubicBezTo>
                    <a:pt x="99547" y="216081"/>
                    <a:pt x="88636" y="252095"/>
                    <a:pt x="73275" y="267877"/>
                  </a:cubicBezTo>
                  <a:lnTo>
                    <a:pt x="70673" y="270563"/>
                  </a:lnTo>
                  <a:cubicBezTo>
                    <a:pt x="64882" y="276691"/>
                    <a:pt x="57663" y="284247"/>
                    <a:pt x="50613" y="288444"/>
                  </a:cubicBezTo>
                  <a:cubicBezTo>
                    <a:pt x="46164" y="291130"/>
                    <a:pt x="40457" y="293397"/>
                    <a:pt x="34917" y="295580"/>
                  </a:cubicBezTo>
                  <a:cubicBezTo>
                    <a:pt x="29293" y="297846"/>
                    <a:pt x="23418" y="300113"/>
                    <a:pt x="19977" y="302547"/>
                  </a:cubicBezTo>
                  <a:cubicBezTo>
                    <a:pt x="13430" y="307164"/>
                    <a:pt x="6883" y="308759"/>
                    <a:pt x="0" y="309263"/>
                  </a:cubicBezTo>
                  <a:cubicBezTo>
                    <a:pt x="336" y="310019"/>
                    <a:pt x="588" y="310690"/>
                    <a:pt x="923" y="311446"/>
                  </a:cubicBezTo>
                  <a:cubicBezTo>
                    <a:pt x="2014" y="313880"/>
                    <a:pt x="3190" y="316315"/>
                    <a:pt x="3777" y="319253"/>
                  </a:cubicBezTo>
                  <a:cubicBezTo>
                    <a:pt x="4449" y="322443"/>
                    <a:pt x="4197" y="325549"/>
                    <a:pt x="3945" y="328487"/>
                  </a:cubicBezTo>
                  <a:cubicBezTo>
                    <a:pt x="3777" y="330922"/>
                    <a:pt x="3609" y="333272"/>
                    <a:pt x="3945" y="335287"/>
                  </a:cubicBezTo>
                  <a:cubicBezTo>
                    <a:pt x="5288" y="342339"/>
                    <a:pt x="10156" y="347375"/>
                    <a:pt x="15696" y="353084"/>
                  </a:cubicBezTo>
                  <a:lnTo>
                    <a:pt x="16703" y="354091"/>
                  </a:lnTo>
                  <a:cubicBezTo>
                    <a:pt x="20312" y="357869"/>
                    <a:pt x="23838" y="362318"/>
                    <a:pt x="27447" y="367103"/>
                  </a:cubicBezTo>
                  <a:cubicBezTo>
                    <a:pt x="35756" y="377848"/>
                    <a:pt x="44402" y="388929"/>
                    <a:pt x="55230" y="391951"/>
                  </a:cubicBezTo>
                  <a:lnTo>
                    <a:pt x="57412" y="392539"/>
                  </a:lnTo>
                  <a:lnTo>
                    <a:pt x="58083" y="394638"/>
                  </a:lnTo>
                  <a:cubicBezTo>
                    <a:pt x="58503" y="395897"/>
                    <a:pt x="60014" y="399339"/>
                    <a:pt x="61693" y="402781"/>
                  </a:cubicBezTo>
                  <a:cubicBezTo>
                    <a:pt x="70506" y="399339"/>
                    <a:pt x="82005" y="407986"/>
                    <a:pt x="89811" y="414114"/>
                  </a:cubicBezTo>
                  <a:cubicBezTo>
                    <a:pt x="97113" y="419906"/>
                    <a:pt x="92581" y="432666"/>
                    <a:pt x="101478" y="436024"/>
                  </a:cubicBezTo>
                  <a:cubicBezTo>
                    <a:pt x="149573" y="454157"/>
                    <a:pt x="169969" y="331089"/>
                    <a:pt x="174921" y="306493"/>
                  </a:cubicBezTo>
                  <a:cubicBezTo>
                    <a:pt x="178530" y="288780"/>
                    <a:pt x="181804" y="269976"/>
                    <a:pt x="185581" y="252850"/>
                  </a:cubicBezTo>
                  <a:cubicBezTo>
                    <a:pt x="189861" y="233626"/>
                    <a:pt x="197416" y="215074"/>
                    <a:pt x="197416" y="194759"/>
                  </a:cubicBezTo>
                  <a:cubicBezTo>
                    <a:pt x="197416" y="181915"/>
                    <a:pt x="197416" y="159333"/>
                    <a:pt x="191960" y="148168"/>
                  </a:cubicBezTo>
                  <a:cubicBezTo>
                    <a:pt x="187175" y="138346"/>
                    <a:pt x="169214" y="135240"/>
                    <a:pt x="171060" y="125082"/>
                  </a:cubicBezTo>
                  <a:cubicBezTo>
                    <a:pt x="167031" y="105774"/>
                    <a:pt x="165604" y="80170"/>
                    <a:pt x="165604" y="62121"/>
                  </a:cubicBezTo>
                  <a:cubicBezTo>
                    <a:pt x="165604" y="60190"/>
                    <a:pt x="165604" y="58344"/>
                    <a:pt x="165688" y="56497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23CA5DF-C33B-D734-2858-EFC2BA550C12}"/>
                </a:ext>
              </a:extLst>
            </p:cNvPr>
            <p:cNvSpPr/>
            <p:nvPr/>
          </p:nvSpPr>
          <p:spPr>
            <a:xfrm>
              <a:off x="5286824" y="3093809"/>
              <a:ext cx="841917" cy="1305714"/>
            </a:xfrm>
            <a:custGeom>
              <a:avLst/>
              <a:gdLst>
                <a:gd name="connsiteX0" fmla="*/ 135052 w 932100"/>
                <a:gd name="connsiteY0" fmla="*/ 0 h 1445578"/>
                <a:gd name="connsiteX1" fmla="*/ 0 w 932100"/>
                <a:gd name="connsiteY1" fmla="*/ 526352 h 1445578"/>
                <a:gd name="connsiteX2" fmla="*/ 596695 w 932100"/>
                <a:gd name="connsiteY2" fmla="*/ 1445579 h 1445578"/>
                <a:gd name="connsiteX3" fmla="*/ 602067 w 932100"/>
                <a:gd name="connsiteY3" fmla="*/ 1435421 h 1445578"/>
                <a:gd name="connsiteX4" fmla="*/ 612056 w 932100"/>
                <a:gd name="connsiteY4" fmla="*/ 1400415 h 1445578"/>
                <a:gd name="connsiteX5" fmla="*/ 614741 w 932100"/>
                <a:gd name="connsiteY5" fmla="*/ 1320161 h 1445578"/>
                <a:gd name="connsiteX6" fmla="*/ 615581 w 932100"/>
                <a:gd name="connsiteY6" fmla="*/ 1297243 h 1445578"/>
                <a:gd name="connsiteX7" fmla="*/ 628339 w 932100"/>
                <a:gd name="connsiteY7" fmla="*/ 1240914 h 1445578"/>
                <a:gd name="connsiteX8" fmla="*/ 670894 w 932100"/>
                <a:gd name="connsiteY8" fmla="*/ 1233443 h 1445578"/>
                <a:gd name="connsiteX9" fmla="*/ 679623 w 932100"/>
                <a:gd name="connsiteY9" fmla="*/ 1243181 h 1445578"/>
                <a:gd name="connsiteX10" fmla="*/ 683233 w 932100"/>
                <a:gd name="connsiteY10" fmla="*/ 1248386 h 1445578"/>
                <a:gd name="connsiteX11" fmla="*/ 695991 w 932100"/>
                <a:gd name="connsiteY11" fmla="*/ 1255353 h 1445578"/>
                <a:gd name="connsiteX12" fmla="*/ 702873 w 932100"/>
                <a:gd name="connsiteY12" fmla="*/ 1257620 h 1445578"/>
                <a:gd name="connsiteX13" fmla="*/ 708749 w 932100"/>
                <a:gd name="connsiteY13" fmla="*/ 1259970 h 1445578"/>
                <a:gd name="connsiteX14" fmla="*/ 726124 w 932100"/>
                <a:gd name="connsiteY14" fmla="*/ 1263748 h 1445578"/>
                <a:gd name="connsiteX15" fmla="*/ 730992 w 932100"/>
                <a:gd name="connsiteY15" fmla="*/ 1255521 h 1445578"/>
                <a:gd name="connsiteX16" fmla="*/ 732503 w 932100"/>
                <a:gd name="connsiteY16" fmla="*/ 1233527 h 1445578"/>
                <a:gd name="connsiteX17" fmla="*/ 732335 w 932100"/>
                <a:gd name="connsiteY17" fmla="*/ 1224796 h 1445578"/>
                <a:gd name="connsiteX18" fmla="*/ 732670 w 932100"/>
                <a:gd name="connsiteY18" fmla="*/ 1223201 h 1445578"/>
                <a:gd name="connsiteX19" fmla="*/ 932100 w 932100"/>
                <a:gd name="connsiteY19" fmla="*/ 176290 h 1445578"/>
                <a:gd name="connsiteX20" fmla="*/ 134968 w 932100"/>
                <a:gd name="connsiteY20" fmla="*/ 84 h 1445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32100" h="1445578">
                  <a:moveTo>
                    <a:pt x="135052" y="0"/>
                  </a:moveTo>
                  <a:lnTo>
                    <a:pt x="0" y="526352"/>
                  </a:lnTo>
                  <a:lnTo>
                    <a:pt x="596695" y="1445579"/>
                  </a:lnTo>
                  <a:cubicBezTo>
                    <a:pt x="598374" y="1442053"/>
                    <a:pt x="600221" y="1438695"/>
                    <a:pt x="602067" y="1435421"/>
                  </a:cubicBezTo>
                  <a:cubicBezTo>
                    <a:pt x="607943" y="1424928"/>
                    <a:pt x="613566" y="1415106"/>
                    <a:pt x="612056" y="1400415"/>
                  </a:cubicBezTo>
                  <a:cubicBezTo>
                    <a:pt x="609118" y="1370865"/>
                    <a:pt x="611720" y="1343246"/>
                    <a:pt x="614741" y="1320161"/>
                  </a:cubicBezTo>
                  <a:cubicBezTo>
                    <a:pt x="615581" y="1313445"/>
                    <a:pt x="615581" y="1305554"/>
                    <a:pt x="615581" y="1297243"/>
                  </a:cubicBezTo>
                  <a:cubicBezTo>
                    <a:pt x="615581" y="1277264"/>
                    <a:pt x="615581" y="1254598"/>
                    <a:pt x="628339" y="1240914"/>
                  </a:cubicBezTo>
                  <a:cubicBezTo>
                    <a:pt x="638243" y="1230253"/>
                    <a:pt x="658556" y="1226643"/>
                    <a:pt x="670894" y="1233443"/>
                  </a:cubicBezTo>
                  <a:cubicBezTo>
                    <a:pt x="675175" y="1235793"/>
                    <a:pt x="677525" y="1239739"/>
                    <a:pt x="679623" y="1243181"/>
                  </a:cubicBezTo>
                  <a:cubicBezTo>
                    <a:pt x="680799" y="1245196"/>
                    <a:pt x="681974" y="1247042"/>
                    <a:pt x="683233" y="1248386"/>
                  </a:cubicBezTo>
                  <a:cubicBezTo>
                    <a:pt x="687681" y="1252751"/>
                    <a:pt x="690787" y="1253758"/>
                    <a:pt x="695991" y="1255353"/>
                  </a:cubicBezTo>
                  <a:cubicBezTo>
                    <a:pt x="698005" y="1256025"/>
                    <a:pt x="700271" y="1256696"/>
                    <a:pt x="702873" y="1257620"/>
                  </a:cubicBezTo>
                  <a:cubicBezTo>
                    <a:pt x="704888" y="1258375"/>
                    <a:pt x="706818" y="1259215"/>
                    <a:pt x="708749" y="1259970"/>
                  </a:cubicBezTo>
                  <a:cubicBezTo>
                    <a:pt x="715800" y="1262825"/>
                    <a:pt x="722430" y="1265595"/>
                    <a:pt x="726124" y="1263748"/>
                  </a:cubicBezTo>
                  <a:cubicBezTo>
                    <a:pt x="728138" y="1262741"/>
                    <a:pt x="729817" y="1259970"/>
                    <a:pt x="730992" y="1255521"/>
                  </a:cubicBezTo>
                  <a:cubicBezTo>
                    <a:pt x="732503" y="1249561"/>
                    <a:pt x="732503" y="1241418"/>
                    <a:pt x="732503" y="1233527"/>
                  </a:cubicBezTo>
                  <a:cubicBezTo>
                    <a:pt x="732503" y="1230589"/>
                    <a:pt x="732335" y="1224796"/>
                    <a:pt x="732335" y="1224796"/>
                  </a:cubicBezTo>
                  <a:lnTo>
                    <a:pt x="732670" y="1223201"/>
                  </a:lnTo>
                  <a:cubicBezTo>
                    <a:pt x="732670" y="1222026"/>
                    <a:pt x="932100" y="176290"/>
                    <a:pt x="932100" y="176290"/>
                  </a:cubicBezTo>
                  <a:cubicBezTo>
                    <a:pt x="626576" y="121137"/>
                    <a:pt x="355046" y="57756"/>
                    <a:pt x="134968" y="84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6AF4B40-473E-4B32-80D8-647CCD49E56E}"/>
                </a:ext>
              </a:extLst>
            </p:cNvPr>
            <p:cNvSpPr/>
            <p:nvPr/>
          </p:nvSpPr>
          <p:spPr>
            <a:xfrm>
              <a:off x="8416436" y="3691921"/>
              <a:ext cx="893483" cy="770094"/>
            </a:xfrm>
            <a:custGeom>
              <a:avLst/>
              <a:gdLst>
                <a:gd name="connsiteX0" fmla="*/ 593674 w 989190"/>
                <a:gd name="connsiteY0" fmla="*/ 35846 h 852584"/>
                <a:gd name="connsiteX1" fmla="*/ 593674 w 989190"/>
                <a:gd name="connsiteY1" fmla="*/ 29298 h 852584"/>
                <a:gd name="connsiteX2" fmla="*/ 593086 w 989190"/>
                <a:gd name="connsiteY2" fmla="*/ 29298 h 852584"/>
                <a:gd name="connsiteX3" fmla="*/ 575544 w 989190"/>
                <a:gd name="connsiteY3" fmla="*/ 11333 h 852584"/>
                <a:gd name="connsiteX4" fmla="*/ 568577 w 989190"/>
                <a:gd name="connsiteY4" fmla="*/ 0 h 852584"/>
                <a:gd name="connsiteX5" fmla="*/ 0 w 989190"/>
                <a:gd name="connsiteY5" fmla="*/ 13767 h 852584"/>
                <a:gd name="connsiteX6" fmla="*/ 29042 w 989190"/>
                <a:gd name="connsiteY6" fmla="*/ 61534 h 852584"/>
                <a:gd name="connsiteX7" fmla="*/ 36008 w 989190"/>
                <a:gd name="connsiteY7" fmla="*/ 69425 h 852584"/>
                <a:gd name="connsiteX8" fmla="*/ 52460 w 989190"/>
                <a:gd name="connsiteY8" fmla="*/ 92510 h 852584"/>
                <a:gd name="connsiteX9" fmla="*/ 54810 w 989190"/>
                <a:gd name="connsiteY9" fmla="*/ 98303 h 852584"/>
                <a:gd name="connsiteX10" fmla="*/ 70925 w 989190"/>
                <a:gd name="connsiteY10" fmla="*/ 124075 h 852584"/>
                <a:gd name="connsiteX11" fmla="*/ 93756 w 989190"/>
                <a:gd name="connsiteY11" fmla="*/ 130455 h 852584"/>
                <a:gd name="connsiteX12" fmla="*/ 108025 w 989190"/>
                <a:gd name="connsiteY12" fmla="*/ 131126 h 852584"/>
                <a:gd name="connsiteX13" fmla="*/ 140172 w 989190"/>
                <a:gd name="connsiteY13" fmla="*/ 148168 h 852584"/>
                <a:gd name="connsiteX14" fmla="*/ 142186 w 989190"/>
                <a:gd name="connsiteY14" fmla="*/ 161767 h 852584"/>
                <a:gd name="connsiteX15" fmla="*/ 125231 w 989190"/>
                <a:gd name="connsiteY15" fmla="*/ 180152 h 852584"/>
                <a:gd name="connsiteX16" fmla="*/ 112054 w 989190"/>
                <a:gd name="connsiteY16" fmla="*/ 192324 h 852584"/>
                <a:gd name="connsiteX17" fmla="*/ 112641 w 989190"/>
                <a:gd name="connsiteY17" fmla="*/ 227246 h 852584"/>
                <a:gd name="connsiteX18" fmla="*/ 168290 w 989190"/>
                <a:gd name="connsiteY18" fmla="*/ 275181 h 852584"/>
                <a:gd name="connsiteX19" fmla="*/ 166108 w 989190"/>
                <a:gd name="connsiteY19" fmla="*/ 278790 h 852584"/>
                <a:gd name="connsiteX20" fmla="*/ 170305 w 989190"/>
                <a:gd name="connsiteY20" fmla="*/ 278790 h 852584"/>
                <a:gd name="connsiteX21" fmla="*/ 174501 w 989190"/>
                <a:gd name="connsiteY21" fmla="*/ 771899 h 852584"/>
                <a:gd name="connsiteX22" fmla="*/ 841366 w 989190"/>
                <a:gd name="connsiteY22" fmla="*/ 757628 h 852584"/>
                <a:gd name="connsiteX23" fmla="*/ 841366 w 989190"/>
                <a:gd name="connsiteY23" fmla="*/ 758551 h 852584"/>
                <a:gd name="connsiteX24" fmla="*/ 856139 w 989190"/>
                <a:gd name="connsiteY24" fmla="*/ 765938 h 852584"/>
                <a:gd name="connsiteX25" fmla="*/ 851607 w 989190"/>
                <a:gd name="connsiteY25" fmla="*/ 788688 h 852584"/>
                <a:gd name="connsiteX26" fmla="*/ 844389 w 989190"/>
                <a:gd name="connsiteY26" fmla="*/ 794900 h 852584"/>
                <a:gd name="connsiteX27" fmla="*/ 838093 w 989190"/>
                <a:gd name="connsiteY27" fmla="*/ 800441 h 852584"/>
                <a:gd name="connsiteX28" fmla="*/ 830791 w 989190"/>
                <a:gd name="connsiteY28" fmla="*/ 813117 h 852584"/>
                <a:gd name="connsiteX29" fmla="*/ 827853 w 989190"/>
                <a:gd name="connsiteY29" fmla="*/ 818993 h 852584"/>
                <a:gd name="connsiteX30" fmla="*/ 826846 w 989190"/>
                <a:gd name="connsiteY30" fmla="*/ 820840 h 852584"/>
                <a:gd name="connsiteX31" fmla="*/ 820886 w 989190"/>
                <a:gd name="connsiteY31" fmla="*/ 838469 h 852584"/>
                <a:gd name="connsiteX32" fmla="*/ 833225 w 989190"/>
                <a:gd name="connsiteY32" fmla="*/ 846696 h 852584"/>
                <a:gd name="connsiteX33" fmla="*/ 853118 w 989190"/>
                <a:gd name="connsiteY33" fmla="*/ 849047 h 852584"/>
                <a:gd name="connsiteX34" fmla="*/ 858825 w 989190"/>
                <a:gd name="connsiteY34" fmla="*/ 849634 h 852584"/>
                <a:gd name="connsiteX35" fmla="*/ 867303 w 989190"/>
                <a:gd name="connsiteY35" fmla="*/ 851061 h 852584"/>
                <a:gd name="connsiteX36" fmla="*/ 882411 w 989190"/>
                <a:gd name="connsiteY36" fmla="*/ 852321 h 852584"/>
                <a:gd name="connsiteX37" fmla="*/ 885432 w 989190"/>
                <a:gd name="connsiteY37" fmla="*/ 851901 h 852584"/>
                <a:gd name="connsiteX38" fmla="*/ 913551 w 989190"/>
                <a:gd name="connsiteY38" fmla="*/ 844261 h 852584"/>
                <a:gd name="connsiteX39" fmla="*/ 914558 w 989190"/>
                <a:gd name="connsiteY39" fmla="*/ 837798 h 852584"/>
                <a:gd name="connsiteX40" fmla="*/ 913803 w 989190"/>
                <a:gd name="connsiteY40" fmla="*/ 824954 h 852584"/>
                <a:gd name="connsiteX41" fmla="*/ 913215 w 989190"/>
                <a:gd name="connsiteY41" fmla="*/ 816895 h 852584"/>
                <a:gd name="connsiteX42" fmla="*/ 913215 w 989190"/>
                <a:gd name="connsiteY42" fmla="*/ 812613 h 852584"/>
                <a:gd name="connsiteX43" fmla="*/ 916992 w 989190"/>
                <a:gd name="connsiteY43" fmla="*/ 787093 h 852584"/>
                <a:gd name="connsiteX44" fmla="*/ 926729 w 989190"/>
                <a:gd name="connsiteY44" fmla="*/ 770807 h 852584"/>
                <a:gd name="connsiteX45" fmla="*/ 935962 w 989190"/>
                <a:gd name="connsiteY45" fmla="*/ 755529 h 852584"/>
                <a:gd name="connsiteX46" fmla="*/ 976166 w 989190"/>
                <a:gd name="connsiteY46" fmla="*/ 707007 h 852584"/>
                <a:gd name="connsiteX47" fmla="*/ 978181 w 989190"/>
                <a:gd name="connsiteY47" fmla="*/ 705160 h 852584"/>
                <a:gd name="connsiteX48" fmla="*/ 985903 w 989190"/>
                <a:gd name="connsiteY48" fmla="*/ 664614 h 852584"/>
                <a:gd name="connsiteX49" fmla="*/ 964164 w 989190"/>
                <a:gd name="connsiteY49" fmla="*/ 654960 h 852584"/>
                <a:gd name="connsiteX50" fmla="*/ 954343 w 989190"/>
                <a:gd name="connsiteY50" fmla="*/ 652861 h 852584"/>
                <a:gd name="connsiteX51" fmla="*/ 954259 w 989190"/>
                <a:gd name="connsiteY51" fmla="*/ 652945 h 852584"/>
                <a:gd name="connsiteX52" fmla="*/ 954259 w 989190"/>
                <a:gd name="connsiteY52" fmla="*/ 652777 h 852584"/>
                <a:gd name="connsiteX53" fmla="*/ 952833 w 989190"/>
                <a:gd name="connsiteY53" fmla="*/ 652441 h 852584"/>
                <a:gd name="connsiteX54" fmla="*/ 948971 w 989190"/>
                <a:gd name="connsiteY54" fmla="*/ 653029 h 852584"/>
                <a:gd name="connsiteX55" fmla="*/ 944020 w 989190"/>
                <a:gd name="connsiteY55" fmla="*/ 652105 h 852584"/>
                <a:gd name="connsiteX56" fmla="*/ 924966 w 989190"/>
                <a:gd name="connsiteY56" fmla="*/ 627928 h 852584"/>
                <a:gd name="connsiteX57" fmla="*/ 924631 w 989190"/>
                <a:gd name="connsiteY57" fmla="*/ 599890 h 852584"/>
                <a:gd name="connsiteX58" fmla="*/ 926645 w 989190"/>
                <a:gd name="connsiteY58" fmla="*/ 591075 h 852584"/>
                <a:gd name="connsiteX59" fmla="*/ 878046 w 989190"/>
                <a:gd name="connsiteY59" fmla="*/ 509310 h 852584"/>
                <a:gd name="connsiteX60" fmla="*/ 865540 w 989190"/>
                <a:gd name="connsiteY60" fmla="*/ 502343 h 852584"/>
                <a:gd name="connsiteX61" fmla="*/ 850516 w 989190"/>
                <a:gd name="connsiteY61" fmla="*/ 493696 h 852584"/>
                <a:gd name="connsiteX62" fmla="*/ 838597 w 989190"/>
                <a:gd name="connsiteY62" fmla="*/ 485721 h 852584"/>
                <a:gd name="connsiteX63" fmla="*/ 796209 w 989190"/>
                <a:gd name="connsiteY63" fmla="*/ 450883 h 852584"/>
                <a:gd name="connsiteX64" fmla="*/ 795202 w 989190"/>
                <a:gd name="connsiteY64" fmla="*/ 386747 h 852584"/>
                <a:gd name="connsiteX65" fmla="*/ 807960 w 989190"/>
                <a:gd name="connsiteY65" fmla="*/ 326556 h 852584"/>
                <a:gd name="connsiteX66" fmla="*/ 799147 w 989190"/>
                <a:gd name="connsiteY66" fmla="*/ 301288 h 852584"/>
                <a:gd name="connsiteX67" fmla="*/ 778164 w 989190"/>
                <a:gd name="connsiteY67" fmla="*/ 302295 h 852584"/>
                <a:gd name="connsiteX68" fmla="*/ 771281 w 989190"/>
                <a:gd name="connsiteY68" fmla="*/ 305318 h 852584"/>
                <a:gd name="connsiteX69" fmla="*/ 749290 w 989190"/>
                <a:gd name="connsiteY69" fmla="*/ 314468 h 852584"/>
                <a:gd name="connsiteX70" fmla="*/ 732670 w 989190"/>
                <a:gd name="connsiteY70" fmla="*/ 314804 h 852584"/>
                <a:gd name="connsiteX71" fmla="*/ 726124 w 989190"/>
                <a:gd name="connsiteY71" fmla="*/ 300700 h 852584"/>
                <a:gd name="connsiteX72" fmla="*/ 725536 w 989190"/>
                <a:gd name="connsiteY72" fmla="*/ 279882 h 852584"/>
                <a:gd name="connsiteX73" fmla="*/ 718150 w 989190"/>
                <a:gd name="connsiteY73" fmla="*/ 238579 h 852584"/>
                <a:gd name="connsiteX74" fmla="*/ 704636 w 989190"/>
                <a:gd name="connsiteY74" fmla="*/ 225316 h 852584"/>
                <a:gd name="connsiteX75" fmla="*/ 694144 w 989190"/>
                <a:gd name="connsiteY75" fmla="*/ 216081 h 852584"/>
                <a:gd name="connsiteX76" fmla="*/ 689779 w 989190"/>
                <a:gd name="connsiteY76" fmla="*/ 211296 h 852584"/>
                <a:gd name="connsiteX77" fmla="*/ 671230 w 989190"/>
                <a:gd name="connsiteY77" fmla="*/ 193164 h 852584"/>
                <a:gd name="connsiteX78" fmla="*/ 605593 w 989190"/>
                <a:gd name="connsiteY78" fmla="*/ 118618 h 852584"/>
                <a:gd name="connsiteX79" fmla="*/ 593758 w 989190"/>
                <a:gd name="connsiteY79" fmla="*/ 36181 h 852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989190" h="852584">
                  <a:moveTo>
                    <a:pt x="593674" y="35846"/>
                  </a:moveTo>
                  <a:lnTo>
                    <a:pt x="593674" y="29298"/>
                  </a:lnTo>
                  <a:cubicBezTo>
                    <a:pt x="593674" y="29298"/>
                    <a:pt x="593338" y="29298"/>
                    <a:pt x="593086" y="29298"/>
                  </a:cubicBezTo>
                  <a:cubicBezTo>
                    <a:pt x="582007" y="27535"/>
                    <a:pt x="578398" y="18552"/>
                    <a:pt x="575544" y="11333"/>
                  </a:cubicBezTo>
                  <a:cubicBezTo>
                    <a:pt x="573193" y="5541"/>
                    <a:pt x="571851" y="1175"/>
                    <a:pt x="568577" y="0"/>
                  </a:cubicBezTo>
                  <a:lnTo>
                    <a:pt x="0" y="13767"/>
                  </a:lnTo>
                  <a:cubicBezTo>
                    <a:pt x="7722" y="32152"/>
                    <a:pt x="19137" y="49529"/>
                    <a:pt x="29042" y="61534"/>
                  </a:cubicBezTo>
                  <a:cubicBezTo>
                    <a:pt x="31308" y="64304"/>
                    <a:pt x="33658" y="66822"/>
                    <a:pt x="36008" y="69425"/>
                  </a:cubicBezTo>
                  <a:cubicBezTo>
                    <a:pt x="42219" y="76224"/>
                    <a:pt x="48599" y="83192"/>
                    <a:pt x="52460" y="92510"/>
                  </a:cubicBezTo>
                  <a:cubicBezTo>
                    <a:pt x="53299" y="94441"/>
                    <a:pt x="54054" y="96372"/>
                    <a:pt x="54810" y="98303"/>
                  </a:cubicBezTo>
                  <a:cubicBezTo>
                    <a:pt x="58839" y="108376"/>
                    <a:pt x="61944" y="116351"/>
                    <a:pt x="70925" y="124075"/>
                  </a:cubicBezTo>
                  <a:cubicBezTo>
                    <a:pt x="78395" y="130539"/>
                    <a:pt x="84859" y="130455"/>
                    <a:pt x="93756" y="130455"/>
                  </a:cubicBezTo>
                  <a:cubicBezTo>
                    <a:pt x="97953" y="130455"/>
                    <a:pt x="102737" y="130455"/>
                    <a:pt x="108025" y="131126"/>
                  </a:cubicBezTo>
                  <a:cubicBezTo>
                    <a:pt x="117090" y="132470"/>
                    <a:pt x="133793" y="138178"/>
                    <a:pt x="140172" y="148168"/>
                  </a:cubicBezTo>
                  <a:cubicBezTo>
                    <a:pt x="142858" y="152365"/>
                    <a:pt x="143613" y="157066"/>
                    <a:pt x="142186" y="161767"/>
                  </a:cubicBezTo>
                  <a:cubicBezTo>
                    <a:pt x="140004" y="169155"/>
                    <a:pt x="132450" y="174695"/>
                    <a:pt x="125231" y="180152"/>
                  </a:cubicBezTo>
                  <a:cubicBezTo>
                    <a:pt x="119943" y="184097"/>
                    <a:pt x="114404" y="188211"/>
                    <a:pt x="112054" y="192324"/>
                  </a:cubicBezTo>
                  <a:cubicBezTo>
                    <a:pt x="104751" y="204832"/>
                    <a:pt x="108276" y="218180"/>
                    <a:pt x="112641" y="227246"/>
                  </a:cubicBezTo>
                  <a:cubicBezTo>
                    <a:pt x="118516" y="239503"/>
                    <a:pt x="152510" y="265610"/>
                    <a:pt x="168290" y="275181"/>
                  </a:cubicBezTo>
                  <a:lnTo>
                    <a:pt x="166108" y="278790"/>
                  </a:lnTo>
                  <a:lnTo>
                    <a:pt x="170305" y="278790"/>
                  </a:lnTo>
                  <a:cubicBezTo>
                    <a:pt x="170305" y="278790"/>
                    <a:pt x="174501" y="771899"/>
                    <a:pt x="174501" y="771899"/>
                  </a:cubicBezTo>
                  <a:lnTo>
                    <a:pt x="841366" y="757628"/>
                  </a:lnTo>
                  <a:lnTo>
                    <a:pt x="841366" y="758551"/>
                  </a:lnTo>
                  <a:cubicBezTo>
                    <a:pt x="847074" y="758719"/>
                    <a:pt x="853369" y="759978"/>
                    <a:pt x="856139" y="765938"/>
                  </a:cubicBezTo>
                  <a:cubicBezTo>
                    <a:pt x="859329" y="772738"/>
                    <a:pt x="855636" y="784239"/>
                    <a:pt x="851607" y="788688"/>
                  </a:cubicBezTo>
                  <a:cubicBezTo>
                    <a:pt x="849340" y="791207"/>
                    <a:pt x="846822" y="793137"/>
                    <a:pt x="844389" y="794900"/>
                  </a:cubicBezTo>
                  <a:cubicBezTo>
                    <a:pt x="842038" y="796663"/>
                    <a:pt x="839772" y="798342"/>
                    <a:pt x="838093" y="800441"/>
                  </a:cubicBezTo>
                  <a:cubicBezTo>
                    <a:pt x="835239" y="803883"/>
                    <a:pt x="832973" y="808584"/>
                    <a:pt x="830791" y="813117"/>
                  </a:cubicBezTo>
                  <a:cubicBezTo>
                    <a:pt x="829783" y="815132"/>
                    <a:pt x="828860" y="817147"/>
                    <a:pt x="827853" y="818993"/>
                  </a:cubicBezTo>
                  <a:lnTo>
                    <a:pt x="826846" y="820840"/>
                  </a:lnTo>
                  <a:cubicBezTo>
                    <a:pt x="823740" y="826632"/>
                    <a:pt x="820719" y="832089"/>
                    <a:pt x="820886" y="838469"/>
                  </a:cubicBezTo>
                  <a:cubicBezTo>
                    <a:pt x="820886" y="843422"/>
                    <a:pt x="823572" y="845185"/>
                    <a:pt x="833225" y="846696"/>
                  </a:cubicBezTo>
                  <a:cubicBezTo>
                    <a:pt x="839856" y="847703"/>
                    <a:pt x="846403" y="848375"/>
                    <a:pt x="853118" y="849047"/>
                  </a:cubicBezTo>
                  <a:lnTo>
                    <a:pt x="858825" y="849634"/>
                  </a:lnTo>
                  <a:cubicBezTo>
                    <a:pt x="861595" y="849886"/>
                    <a:pt x="864449" y="850474"/>
                    <a:pt x="867303" y="851061"/>
                  </a:cubicBezTo>
                  <a:cubicBezTo>
                    <a:pt x="872591" y="852069"/>
                    <a:pt x="877542" y="853076"/>
                    <a:pt x="882411" y="852321"/>
                  </a:cubicBezTo>
                  <a:lnTo>
                    <a:pt x="885432" y="851901"/>
                  </a:lnTo>
                  <a:cubicBezTo>
                    <a:pt x="902472" y="849634"/>
                    <a:pt x="911956" y="847116"/>
                    <a:pt x="913551" y="844261"/>
                  </a:cubicBezTo>
                  <a:cubicBezTo>
                    <a:pt x="913719" y="842079"/>
                    <a:pt x="914055" y="839896"/>
                    <a:pt x="914558" y="837798"/>
                  </a:cubicBezTo>
                  <a:cubicBezTo>
                    <a:pt x="914558" y="833684"/>
                    <a:pt x="914139" y="828563"/>
                    <a:pt x="913803" y="824954"/>
                  </a:cubicBezTo>
                  <a:cubicBezTo>
                    <a:pt x="913467" y="821764"/>
                    <a:pt x="913215" y="818825"/>
                    <a:pt x="913215" y="816895"/>
                  </a:cubicBezTo>
                  <a:lnTo>
                    <a:pt x="913215" y="812613"/>
                  </a:lnTo>
                  <a:cubicBezTo>
                    <a:pt x="913047" y="803883"/>
                    <a:pt x="912963" y="795572"/>
                    <a:pt x="916992" y="787093"/>
                  </a:cubicBezTo>
                  <a:cubicBezTo>
                    <a:pt x="919678" y="781301"/>
                    <a:pt x="923287" y="775928"/>
                    <a:pt x="926729" y="770807"/>
                  </a:cubicBezTo>
                  <a:cubicBezTo>
                    <a:pt x="930002" y="765938"/>
                    <a:pt x="933360" y="760817"/>
                    <a:pt x="935962" y="755529"/>
                  </a:cubicBezTo>
                  <a:cubicBezTo>
                    <a:pt x="945111" y="736557"/>
                    <a:pt x="961562" y="720859"/>
                    <a:pt x="976166" y="707007"/>
                  </a:cubicBezTo>
                  <a:lnTo>
                    <a:pt x="978181" y="705160"/>
                  </a:lnTo>
                  <a:cubicBezTo>
                    <a:pt x="986574" y="697101"/>
                    <a:pt x="993541" y="675275"/>
                    <a:pt x="985903" y="664614"/>
                  </a:cubicBezTo>
                  <a:cubicBezTo>
                    <a:pt x="980951" y="657730"/>
                    <a:pt x="973229" y="656471"/>
                    <a:pt x="964164" y="654960"/>
                  </a:cubicBezTo>
                  <a:cubicBezTo>
                    <a:pt x="960890" y="654372"/>
                    <a:pt x="957617" y="653700"/>
                    <a:pt x="954343" y="652861"/>
                  </a:cubicBezTo>
                  <a:cubicBezTo>
                    <a:pt x="954343" y="652861"/>
                    <a:pt x="954343" y="652861"/>
                    <a:pt x="954259" y="652945"/>
                  </a:cubicBezTo>
                  <a:lnTo>
                    <a:pt x="954259" y="652777"/>
                  </a:lnTo>
                  <a:cubicBezTo>
                    <a:pt x="953672" y="652693"/>
                    <a:pt x="953252" y="652525"/>
                    <a:pt x="952833" y="652441"/>
                  </a:cubicBezTo>
                  <a:cubicBezTo>
                    <a:pt x="951573" y="652777"/>
                    <a:pt x="950231" y="653029"/>
                    <a:pt x="948971" y="653029"/>
                  </a:cubicBezTo>
                  <a:cubicBezTo>
                    <a:pt x="947293" y="653029"/>
                    <a:pt x="945614" y="652693"/>
                    <a:pt x="944020" y="652105"/>
                  </a:cubicBezTo>
                  <a:cubicBezTo>
                    <a:pt x="931849" y="647488"/>
                    <a:pt x="925050" y="628096"/>
                    <a:pt x="924966" y="627928"/>
                  </a:cubicBezTo>
                  <a:cubicBezTo>
                    <a:pt x="920601" y="615504"/>
                    <a:pt x="922364" y="608621"/>
                    <a:pt x="924631" y="599890"/>
                  </a:cubicBezTo>
                  <a:cubicBezTo>
                    <a:pt x="925302" y="597288"/>
                    <a:pt x="926057" y="594433"/>
                    <a:pt x="926645" y="591075"/>
                  </a:cubicBezTo>
                  <a:cubicBezTo>
                    <a:pt x="934283" y="551788"/>
                    <a:pt x="907843" y="528618"/>
                    <a:pt x="878046" y="509310"/>
                  </a:cubicBezTo>
                  <a:cubicBezTo>
                    <a:pt x="873849" y="506540"/>
                    <a:pt x="869653" y="504442"/>
                    <a:pt x="865540" y="502343"/>
                  </a:cubicBezTo>
                  <a:cubicBezTo>
                    <a:pt x="860671" y="499824"/>
                    <a:pt x="855636" y="497222"/>
                    <a:pt x="850516" y="493696"/>
                  </a:cubicBezTo>
                  <a:cubicBezTo>
                    <a:pt x="846822" y="491094"/>
                    <a:pt x="842794" y="488491"/>
                    <a:pt x="838597" y="485721"/>
                  </a:cubicBezTo>
                  <a:cubicBezTo>
                    <a:pt x="823321" y="475731"/>
                    <a:pt x="806114" y="464398"/>
                    <a:pt x="796209" y="450883"/>
                  </a:cubicBezTo>
                  <a:cubicBezTo>
                    <a:pt x="782696" y="432247"/>
                    <a:pt x="782360" y="409497"/>
                    <a:pt x="795202" y="386747"/>
                  </a:cubicBezTo>
                  <a:cubicBezTo>
                    <a:pt x="806114" y="367523"/>
                    <a:pt x="807792" y="346452"/>
                    <a:pt x="807960" y="326556"/>
                  </a:cubicBezTo>
                  <a:cubicBezTo>
                    <a:pt x="808044" y="314048"/>
                    <a:pt x="804939" y="305066"/>
                    <a:pt x="799147" y="301288"/>
                  </a:cubicBezTo>
                  <a:cubicBezTo>
                    <a:pt x="792936" y="297175"/>
                    <a:pt x="784291" y="299525"/>
                    <a:pt x="778164" y="302295"/>
                  </a:cubicBezTo>
                  <a:lnTo>
                    <a:pt x="771281" y="305318"/>
                  </a:lnTo>
                  <a:cubicBezTo>
                    <a:pt x="764062" y="308592"/>
                    <a:pt x="756592" y="311949"/>
                    <a:pt x="749290" y="314468"/>
                  </a:cubicBezTo>
                  <a:cubicBezTo>
                    <a:pt x="744170" y="316231"/>
                    <a:pt x="737623" y="317910"/>
                    <a:pt x="732670" y="314804"/>
                  </a:cubicBezTo>
                  <a:cubicBezTo>
                    <a:pt x="727802" y="311698"/>
                    <a:pt x="726543" y="305318"/>
                    <a:pt x="726124" y="300700"/>
                  </a:cubicBezTo>
                  <a:cubicBezTo>
                    <a:pt x="725368" y="293649"/>
                    <a:pt x="725452" y="286681"/>
                    <a:pt x="725536" y="279882"/>
                  </a:cubicBezTo>
                  <a:cubicBezTo>
                    <a:pt x="725704" y="265191"/>
                    <a:pt x="725788" y="251339"/>
                    <a:pt x="718150" y="238579"/>
                  </a:cubicBezTo>
                  <a:cubicBezTo>
                    <a:pt x="715296" y="233878"/>
                    <a:pt x="709924" y="229513"/>
                    <a:pt x="704636" y="225316"/>
                  </a:cubicBezTo>
                  <a:cubicBezTo>
                    <a:pt x="700943" y="222377"/>
                    <a:pt x="697166" y="219355"/>
                    <a:pt x="694144" y="216081"/>
                  </a:cubicBezTo>
                  <a:lnTo>
                    <a:pt x="689779" y="211296"/>
                  </a:lnTo>
                  <a:cubicBezTo>
                    <a:pt x="683904" y="204748"/>
                    <a:pt x="678280" y="198620"/>
                    <a:pt x="671230" y="193164"/>
                  </a:cubicBezTo>
                  <a:cubicBezTo>
                    <a:pt x="638915" y="168063"/>
                    <a:pt x="616840" y="142963"/>
                    <a:pt x="605593" y="118618"/>
                  </a:cubicBezTo>
                  <a:cubicBezTo>
                    <a:pt x="593002" y="91167"/>
                    <a:pt x="593338" y="64472"/>
                    <a:pt x="593758" y="3618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7B570FBD-9A0D-4728-75DA-6945110156DA}"/>
                </a:ext>
              </a:extLst>
            </p:cNvPr>
            <p:cNvSpPr/>
            <p:nvPr/>
          </p:nvSpPr>
          <p:spPr>
            <a:xfrm>
              <a:off x="7371185" y="3251224"/>
              <a:ext cx="1097638" cy="551327"/>
            </a:xfrm>
            <a:custGeom>
              <a:avLst/>
              <a:gdLst>
                <a:gd name="connsiteX0" fmla="*/ 1097201 w 1215213"/>
                <a:gd name="connsiteY0" fmla="*/ 230017 h 610383"/>
                <a:gd name="connsiteX1" fmla="*/ 1069922 w 1215213"/>
                <a:gd name="connsiteY1" fmla="*/ 175870 h 610383"/>
                <a:gd name="connsiteX2" fmla="*/ 1049442 w 1215213"/>
                <a:gd name="connsiteY2" fmla="*/ 133729 h 610383"/>
                <a:gd name="connsiteX3" fmla="*/ 1018806 w 1215213"/>
                <a:gd name="connsiteY3" fmla="*/ 98974 h 610383"/>
                <a:gd name="connsiteX4" fmla="*/ 999333 w 1215213"/>
                <a:gd name="connsiteY4" fmla="*/ 89656 h 610383"/>
                <a:gd name="connsiteX5" fmla="*/ 980699 w 1215213"/>
                <a:gd name="connsiteY5" fmla="*/ 81345 h 610383"/>
                <a:gd name="connsiteX6" fmla="*/ 978769 w 1215213"/>
                <a:gd name="connsiteY6" fmla="*/ 80170 h 610383"/>
                <a:gd name="connsiteX7" fmla="*/ 940494 w 1215213"/>
                <a:gd name="connsiteY7" fmla="*/ 67578 h 610383"/>
                <a:gd name="connsiteX8" fmla="*/ 895757 w 1215213"/>
                <a:gd name="connsiteY8" fmla="*/ 70348 h 610383"/>
                <a:gd name="connsiteX9" fmla="*/ 871583 w 1215213"/>
                <a:gd name="connsiteY9" fmla="*/ 74881 h 610383"/>
                <a:gd name="connsiteX10" fmla="*/ 811989 w 1215213"/>
                <a:gd name="connsiteY10" fmla="*/ 66738 h 610383"/>
                <a:gd name="connsiteX11" fmla="*/ 734769 w 1215213"/>
                <a:gd name="connsiteY11" fmla="*/ 32488 h 610383"/>
                <a:gd name="connsiteX12" fmla="*/ 679372 w 1215213"/>
                <a:gd name="connsiteY12" fmla="*/ 31145 h 610383"/>
                <a:gd name="connsiteX13" fmla="*/ 625317 w 1215213"/>
                <a:gd name="connsiteY13" fmla="*/ 29801 h 610383"/>
                <a:gd name="connsiteX14" fmla="*/ 166611 w 1215213"/>
                <a:gd name="connsiteY14" fmla="*/ 10409 h 610383"/>
                <a:gd name="connsiteX15" fmla="*/ 28454 w 1215213"/>
                <a:gd name="connsiteY15" fmla="*/ 0 h 610383"/>
                <a:gd name="connsiteX16" fmla="*/ 0 w 1215213"/>
                <a:gd name="connsiteY16" fmla="*/ 364165 h 610383"/>
                <a:gd name="connsiteX17" fmla="*/ 268593 w 1215213"/>
                <a:gd name="connsiteY17" fmla="*/ 381710 h 610383"/>
                <a:gd name="connsiteX18" fmla="*/ 258437 w 1215213"/>
                <a:gd name="connsiteY18" fmla="*/ 574118 h 610383"/>
                <a:gd name="connsiteX19" fmla="*/ 1215214 w 1215213"/>
                <a:gd name="connsiteY19" fmla="*/ 610383 h 610383"/>
                <a:gd name="connsiteX20" fmla="*/ 1203967 w 1215213"/>
                <a:gd name="connsiteY20" fmla="*/ 588893 h 610383"/>
                <a:gd name="connsiteX21" fmla="*/ 1201701 w 1215213"/>
                <a:gd name="connsiteY21" fmla="*/ 583268 h 610383"/>
                <a:gd name="connsiteX22" fmla="*/ 1186760 w 1215213"/>
                <a:gd name="connsiteY22" fmla="*/ 562617 h 610383"/>
                <a:gd name="connsiteX23" fmla="*/ 1179541 w 1215213"/>
                <a:gd name="connsiteY23" fmla="*/ 554474 h 610383"/>
                <a:gd name="connsiteX24" fmla="*/ 1139840 w 1215213"/>
                <a:gd name="connsiteY24" fmla="*/ 470778 h 610383"/>
                <a:gd name="connsiteX25" fmla="*/ 1140931 w 1215213"/>
                <a:gd name="connsiteY25" fmla="*/ 433841 h 610383"/>
                <a:gd name="connsiteX26" fmla="*/ 1139588 w 1215213"/>
                <a:gd name="connsiteY26" fmla="*/ 385991 h 610383"/>
                <a:gd name="connsiteX27" fmla="*/ 1120451 w 1215213"/>
                <a:gd name="connsiteY27" fmla="*/ 349390 h 610383"/>
                <a:gd name="connsiteX28" fmla="*/ 1119780 w 1215213"/>
                <a:gd name="connsiteY28" fmla="*/ 348383 h 610383"/>
                <a:gd name="connsiteX29" fmla="*/ 1110379 w 1215213"/>
                <a:gd name="connsiteY29" fmla="*/ 308088 h 610383"/>
                <a:gd name="connsiteX30" fmla="*/ 1110379 w 1215213"/>
                <a:gd name="connsiteY30" fmla="*/ 306829 h 610383"/>
                <a:gd name="connsiteX31" fmla="*/ 1097033 w 1215213"/>
                <a:gd name="connsiteY31" fmla="*/ 229849 h 610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15213" h="610383">
                  <a:moveTo>
                    <a:pt x="1097201" y="230017"/>
                  </a:moveTo>
                  <a:cubicBezTo>
                    <a:pt x="1086793" y="212723"/>
                    <a:pt x="1078232" y="194003"/>
                    <a:pt x="1069922" y="175870"/>
                  </a:cubicBezTo>
                  <a:cubicBezTo>
                    <a:pt x="1063543" y="161851"/>
                    <a:pt x="1056912" y="147328"/>
                    <a:pt x="1049442" y="133729"/>
                  </a:cubicBezTo>
                  <a:cubicBezTo>
                    <a:pt x="1041216" y="118618"/>
                    <a:pt x="1032655" y="108880"/>
                    <a:pt x="1018806" y="98974"/>
                  </a:cubicBezTo>
                  <a:cubicBezTo>
                    <a:pt x="1012594" y="94525"/>
                    <a:pt x="1006131" y="92174"/>
                    <a:pt x="999333" y="89656"/>
                  </a:cubicBezTo>
                  <a:cubicBezTo>
                    <a:pt x="993289" y="87473"/>
                    <a:pt x="987078" y="85207"/>
                    <a:pt x="980699" y="81345"/>
                  </a:cubicBezTo>
                  <a:lnTo>
                    <a:pt x="978769" y="80170"/>
                  </a:lnTo>
                  <a:cubicBezTo>
                    <a:pt x="964415" y="71523"/>
                    <a:pt x="957953" y="67578"/>
                    <a:pt x="940494" y="67578"/>
                  </a:cubicBezTo>
                  <a:cubicBezTo>
                    <a:pt x="924714" y="67578"/>
                    <a:pt x="910361" y="68921"/>
                    <a:pt x="895757" y="70348"/>
                  </a:cubicBezTo>
                  <a:cubicBezTo>
                    <a:pt x="886859" y="71271"/>
                    <a:pt x="879137" y="73118"/>
                    <a:pt x="871583" y="74881"/>
                  </a:cubicBezTo>
                  <a:cubicBezTo>
                    <a:pt x="851942" y="79582"/>
                    <a:pt x="834904" y="83612"/>
                    <a:pt x="811989" y="66738"/>
                  </a:cubicBezTo>
                  <a:cubicBezTo>
                    <a:pt x="788739" y="49613"/>
                    <a:pt x="766748" y="33411"/>
                    <a:pt x="734769" y="32488"/>
                  </a:cubicBezTo>
                  <a:cubicBezTo>
                    <a:pt x="716303" y="31984"/>
                    <a:pt x="697837" y="31564"/>
                    <a:pt x="679372" y="31145"/>
                  </a:cubicBezTo>
                  <a:cubicBezTo>
                    <a:pt x="661326" y="30725"/>
                    <a:pt x="643363" y="30305"/>
                    <a:pt x="625317" y="29801"/>
                  </a:cubicBezTo>
                  <a:cubicBezTo>
                    <a:pt x="445276" y="24932"/>
                    <a:pt x="299481" y="18804"/>
                    <a:pt x="166611" y="10409"/>
                  </a:cubicBezTo>
                  <a:cubicBezTo>
                    <a:pt x="126322" y="7891"/>
                    <a:pt x="76465" y="4701"/>
                    <a:pt x="28454" y="0"/>
                  </a:cubicBezTo>
                  <a:lnTo>
                    <a:pt x="0" y="364165"/>
                  </a:lnTo>
                  <a:cubicBezTo>
                    <a:pt x="83683" y="370461"/>
                    <a:pt x="176096" y="376421"/>
                    <a:pt x="268593" y="381710"/>
                  </a:cubicBezTo>
                  <a:lnTo>
                    <a:pt x="258437" y="574118"/>
                  </a:lnTo>
                  <a:cubicBezTo>
                    <a:pt x="584525" y="597120"/>
                    <a:pt x="1134552" y="608788"/>
                    <a:pt x="1215214" y="610383"/>
                  </a:cubicBezTo>
                  <a:cubicBezTo>
                    <a:pt x="1209842" y="603500"/>
                    <a:pt x="1206988" y="596364"/>
                    <a:pt x="1203967" y="588893"/>
                  </a:cubicBezTo>
                  <a:cubicBezTo>
                    <a:pt x="1203211" y="587046"/>
                    <a:pt x="1202456" y="585199"/>
                    <a:pt x="1201701" y="583268"/>
                  </a:cubicBezTo>
                  <a:cubicBezTo>
                    <a:pt x="1198343" y="575293"/>
                    <a:pt x="1192719" y="569081"/>
                    <a:pt x="1186760" y="562617"/>
                  </a:cubicBezTo>
                  <a:cubicBezTo>
                    <a:pt x="1184326" y="559931"/>
                    <a:pt x="1181892" y="557328"/>
                    <a:pt x="1179541" y="554474"/>
                  </a:cubicBezTo>
                  <a:cubicBezTo>
                    <a:pt x="1163258" y="534830"/>
                    <a:pt x="1143114" y="501084"/>
                    <a:pt x="1139840" y="470778"/>
                  </a:cubicBezTo>
                  <a:cubicBezTo>
                    <a:pt x="1138497" y="458354"/>
                    <a:pt x="1139756" y="445846"/>
                    <a:pt x="1140931" y="433841"/>
                  </a:cubicBezTo>
                  <a:cubicBezTo>
                    <a:pt x="1142526" y="417304"/>
                    <a:pt x="1144037" y="401606"/>
                    <a:pt x="1139588" y="385991"/>
                  </a:cubicBezTo>
                  <a:cubicBezTo>
                    <a:pt x="1135308" y="370881"/>
                    <a:pt x="1129096" y="361898"/>
                    <a:pt x="1120451" y="349390"/>
                  </a:cubicBezTo>
                  <a:lnTo>
                    <a:pt x="1119780" y="348383"/>
                  </a:lnTo>
                  <a:cubicBezTo>
                    <a:pt x="1110379" y="334783"/>
                    <a:pt x="1110379" y="322443"/>
                    <a:pt x="1110379" y="308088"/>
                  </a:cubicBezTo>
                  <a:lnTo>
                    <a:pt x="1110379" y="306829"/>
                  </a:lnTo>
                  <a:cubicBezTo>
                    <a:pt x="1110379" y="279881"/>
                    <a:pt x="1110379" y="252011"/>
                    <a:pt x="1097033" y="22984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788DA88-8210-13E5-3F5F-FAEEFAA05EF0}"/>
                </a:ext>
              </a:extLst>
            </p:cNvPr>
            <p:cNvSpPr/>
            <p:nvPr/>
          </p:nvSpPr>
          <p:spPr>
            <a:xfrm>
              <a:off x="6483325" y="2802564"/>
              <a:ext cx="932969" cy="777211"/>
            </a:xfrm>
            <a:custGeom>
              <a:avLst/>
              <a:gdLst>
                <a:gd name="connsiteX0" fmla="*/ 974823 w 1032906"/>
                <a:gd name="connsiteY0" fmla="*/ 860464 h 860463"/>
                <a:gd name="connsiteX1" fmla="*/ 1032907 w 1032906"/>
                <a:gd name="connsiteY1" fmla="*/ 117443 h 860463"/>
                <a:gd name="connsiteX2" fmla="*/ 117593 w 1032906"/>
                <a:gd name="connsiteY2" fmla="*/ 0 h 860463"/>
                <a:gd name="connsiteX3" fmla="*/ 0 w 1032906"/>
                <a:gd name="connsiteY3" fmla="*/ 747050 h 860463"/>
                <a:gd name="connsiteX4" fmla="*/ 974823 w 1032906"/>
                <a:gd name="connsiteY4" fmla="*/ 860464 h 860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2906" h="860463">
                  <a:moveTo>
                    <a:pt x="974823" y="860464"/>
                  </a:moveTo>
                  <a:lnTo>
                    <a:pt x="1032907" y="117443"/>
                  </a:lnTo>
                  <a:cubicBezTo>
                    <a:pt x="981370" y="114001"/>
                    <a:pt x="476081" y="78491"/>
                    <a:pt x="117593" y="0"/>
                  </a:cubicBezTo>
                  <a:lnTo>
                    <a:pt x="0" y="747050"/>
                  </a:lnTo>
                  <a:cubicBezTo>
                    <a:pt x="41464" y="754521"/>
                    <a:pt x="400539" y="816979"/>
                    <a:pt x="974823" y="86046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F95DB32-61C0-CA77-A950-BAEB3349A6BD}"/>
                </a:ext>
              </a:extLst>
            </p:cNvPr>
            <p:cNvSpPr/>
            <p:nvPr/>
          </p:nvSpPr>
          <p:spPr>
            <a:xfrm>
              <a:off x="9602244" y="5222388"/>
              <a:ext cx="1207656" cy="941091"/>
            </a:xfrm>
            <a:custGeom>
              <a:avLst/>
              <a:gdLst>
                <a:gd name="connsiteX0" fmla="*/ 928578 w 1337016"/>
                <a:gd name="connsiteY0" fmla="*/ 2344 h 1041897"/>
                <a:gd name="connsiteX1" fmla="*/ 901635 w 1337016"/>
                <a:gd name="connsiteY1" fmla="*/ 6038 h 1041897"/>
                <a:gd name="connsiteX2" fmla="*/ 897102 w 1337016"/>
                <a:gd name="connsiteY2" fmla="*/ 9312 h 1041897"/>
                <a:gd name="connsiteX3" fmla="*/ 891395 w 1337016"/>
                <a:gd name="connsiteY3" fmla="*/ 14768 h 1041897"/>
                <a:gd name="connsiteX4" fmla="*/ 892402 w 1337016"/>
                <a:gd name="connsiteY4" fmla="*/ 28116 h 1041897"/>
                <a:gd name="connsiteX5" fmla="*/ 901131 w 1337016"/>
                <a:gd name="connsiteY5" fmla="*/ 43814 h 1041897"/>
                <a:gd name="connsiteX6" fmla="*/ 907846 w 1337016"/>
                <a:gd name="connsiteY6" fmla="*/ 61527 h 1041897"/>
                <a:gd name="connsiteX7" fmla="*/ 906587 w 1337016"/>
                <a:gd name="connsiteY7" fmla="*/ 70677 h 1041897"/>
                <a:gd name="connsiteX8" fmla="*/ 905664 w 1337016"/>
                <a:gd name="connsiteY8" fmla="*/ 75630 h 1041897"/>
                <a:gd name="connsiteX9" fmla="*/ 905496 w 1337016"/>
                <a:gd name="connsiteY9" fmla="*/ 78568 h 1041897"/>
                <a:gd name="connsiteX10" fmla="*/ 898529 w 1337016"/>
                <a:gd name="connsiteY10" fmla="*/ 91328 h 1041897"/>
                <a:gd name="connsiteX11" fmla="*/ 891647 w 1337016"/>
                <a:gd name="connsiteY11" fmla="*/ 92756 h 1041897"/>
                <a:gd name="connsiteX12" fmla="*/ 870159 w 1337016"/>
                <a:gd name="connsiteY12" fmla="*/ 76722 h 1041897"/>
                <a:gd name="connsiteX13" fmla="*/ 868229 w 1337016"/>
                <a:gd name="connsiteY13" fmla="*/ 74035 h 1041897"/>
                <a:gd name="connsiteX14" fmla="*/ 865123 w 1337016"/>
                <a:gd name="connsiteY14" fmla="*/ 69334 h 1041897"/>
                <a:gd name="connsiteX15" fmla="*/ 845482 w 1337016"/>
                <a:gd name="connsiteY15" fmla="*/ 57498 h 1041897"/>
                <a:gd name="connsiteX16" fmla="*/ 835494 w 1337016"/>
                <a:gd name="connsiteY16" fmla="*/ 58337 h 1041897"/>
                <a:gd name="connsiteX17" fmla="*/ 783958 w 1337016"/>
                <a:gd name="connsiteY17" fmla="*/ 62534 h 1041897"/>
                <a:gd name="connsiteX18" fmla="*/ 651676 w 1337016"/>
                <a:gd name="connsiteY18" fmla="*/ 73364 h 1041897"/>
                <a:gd name="connsiteX19" fmla="*/ 522416 w 1337016"/>
                <a:gd name="connsiteY19" fmla="*/ 84109 h 1041897"/>
                <a:gd name="connsiteX20" fmla="*/ 479609 w 1337016"/>
                <a:gd name="connsiteY20" fmla="*/ 87887 h 1041897"/>
                <a:gd name="connsiteX21" fmla="*/ 474153 w 1337016"/>
                <a:gd name="connsiteY21" fmla="*/ 88222 h 1041897"/>
                <a:gd name="connsiteX22" fmla="*/ 463074 w 1337016"/>
                <a:gd name="connsiteY22" fmla="*/ 89482 h 1041897"/>
                <a:gd name="connsiteX23" fmla="*/ 436634 w 1337016"/>
                <a:gd name="connsiteY23" fmla="*/ 79912 h 1041897"/>
                <a:gd name="connsiteX24" fmla="*/ 420770 w 1337016"/>
                <a:gd name="connsiteY24" fmla="*/ 54476 h 1041897"/>
                <a:gd name="connsiteX25" fmla="*/ 416741 w 1337016"/>
                <a:gd name="connsiteY25" fmla="*/ 49019 h 1041897"/>
                <a:gd name="connsiteX26" fmla="*/ 410194 w 1337016"/>
                <a:gd name="connsiteY26" fmla="*/ 40121 h 1041897"/>
                <a:gd name="connsiteX27" fmla="*/ 4451 w 1337016"/>
                <a:gd name="connsiteY27" fmla="*/ 75211 h 1041897"/>
                <a:gd name="connsiteX28" fmla="*/ 3 w 1337016"/>
                <a:gd name="connsiteY28" fmla="*/ 83941 h 1041897"/>
                <a:gd name="connsiteX29" fmla="*/ 18805 w 1337016"/>
                <a:gd name="connsiteY29" fmla="*/ 107950 h 1041897"/>
                <a:gd name="connsiteX30" fmla="*/ 26358 w 1337016"/>
                <a:gd name="connsiteY30" fmla="*/ 114750 h 1041897"/>
                <a:gd name="connsiteX31" fmla="*/ 27786 w 1337016"/>
                <a:gd name="connsiteY31" fmla="*/ 116093 h 1041897"/>
                <a:gd name="connsiteX32" fmla="*/ 50112 w 1337016"/>
                <a:gd name="connsiteY32" fmla="*/ 161593 h 1041897"/>
                <a:gd name="connsiteX33" fmla="*/ 50112 w 1337016"/>
                <a:gd name="connsiteY33" fmla="*/ 164363 h 1041897"/>
                <a:gd name="connsiteX34" fmla="*/ 49105 w 1337016"/>
                <a:gd name="connsiteY34" fmla="*/ 196515 h 1041897"/>
                <a:gd name="connsiteX35" fmla="*/ 80581 w 1337016"/>
                <a:gd name="connsiteY35" fmla="*/ 180565 h 1041897"/>
                <a:gd name="connsiteX36" fmla="*/ 147729 w 1337016"/>
                <a:gd name="connsiteY36" fmla="*/ 174017 h 1041897"/>
                <a:gd name="connsiteX37" fmla="*/ 223942 w 1337016"/>
                <a:gd name="connsiteY37" fmla="*/ 181068 h 1041897"/>
                <a:gd name="connsiteX38" fmla="*/ 336080 w 1337016"/>
                <a:gd name="connsiteY38" fmla="*/ 216746 h 1041897"/>
                <a:gd name="connsiteX39" fmla="*/ 402221 w 1337016"/>
                <a:gd name="connsiteY39" fmla="*/ 266611 h 1041897"/>
                <a:gd name="connsiteX40" fmla="*/ 450483 w 1337016"/>
                <a:gd name="connsiteY40" fmla="*/ 253851 h 1041897"/>
                <a:gd name="connsiteX41" fmla="*/ 665441 w 1337016"/>
                <a:gd name="connsiteY41" fmla="*/ 211541 h 1041897"/>
                <a:gd name="connsiteX42" fmla="*/ 762135 w 1337016"/>
                <a:gd name="connsiteY42" fmla="*/ 299603 h 1041897"/>
                <a:gd name="connsiteX43" fmla="*/ 792519 w 1337016"/>
                <a:gd name="connsiteY43" fmla="*/ 346529 h 1041897"/>
                <a:gd name="connsiteX44" fmla="*/ 815937 w 1337016"/>
                <a:gd name="connsiteY44" fmla="*/ 365250 h 1041897"/>
                <a:gd name="connsiteX45" fmla="*/ 828611 w 1337016"/>
                <a:gd name="connsiteY45" fmla="*/ 396646 h 1041897"/>
                <a:gd name="connsiteX46" fmla="*/ 847077 w 1337016"/>
                <a:gd name="connsiteY46" fmla="*/ 455410 h 1041897"/>
                <a:gd name="connsiteX47" fmla="*/ 839187 w 1337016"/>
                <a:gd name="connsiteY47" fmla="*/ 516272 h 1041897"/>
                <a:gd name="connsiteX48" fmla="*/ 839187 w 1337016"/>
                <a:gd name="connsiteY48" fmla="*/ 574699 h 1041897"/>
                <a:gd name="connsiteX49" fmla="*/ 858408 w 1337016"/>
                <a:gd name="connsiteY49" fmla="*/ 533817 h 1041897"/>
                <a:gd name="connsiteX50" fmla="*/ 897942 w 1337016"/>
                <a:gd name="connsiteY50" fmla="*/ 563954 h 1041897"/>
                <a:gd name="connsiteX51" fmla="*/ 878972 w 1337016"/>
                <a:gd name="connsiteY51" fmla="*/ 618604 h 1041897"/>
                <a:gd name="connsiteX52" fmla="*/ 938231 w 1337016"/>
                <a:gd name="connsiteY52" fmla="*/ 721355 h 1041897"/>
                <a:gd name="connsiteX53" fmla="*/ 988424 w 1337016"/>
                <a:gd name="connsiteY53" fmla="*/ 740831 h 1041897"/>
                <a:gd name="connsiteX54" fmla="*/ 1009240 w 1337016"/>
                <a:gd name="connsiteY54" fmla="*/ 792124 h 1041897"/>
                <a:gd name="connsiteX55" fmla="*/ 1046843 w 1337016"/>
                <a:gd name="connsiteY55" fmla="*/ 839386 h 1041897"/>
                <a:gd name="connsiteX56" fmla="*/ 1074206 w 1337016"/>
                <a:gd name="connsiteY56" fmla="*/ 889922 h 1041897"/>
                <a:gd name="connsiteX57" fmla="*/ 1131953 w 1337016"/>
                <a:gd name="connsiteY57" fmla="*/ 908223 h 1041897"/>
                <a:gd name="connsiteX58" fmla="*/ 1168549 w 1337016"/>
                <a:gd name="connsiteY58" fmla="*/ 948602 h 1041897"/>
                <a:gd name="connsiteX59" fmla="*/ 1214378 w 1337016"/>
                <a:gd name="connsiteY59" fmla="*/ 993262 h 1041897"/>
                <a:gd name="connsiteX60" fmla="*/ 1198262 w 1337016"/>
                <a:gd name="connsiteY60" fmla="*/ 1032382 h 1041897"/>
                <a:gd name="connsiteX61" fmla="*/ 1271286 w 1337016"/>
                <a:gd name="connsiteY61" fmla="*/ 1024239 h 1041897"/>
                <a:gd name="connsiteX62" fmla="*/ 1318457 w 1337016"/>
                <a:gd name="connsiteY62" fmla="*/ 956997 h 1041897"/>
                <a:gd name="connsiteX63" fmla="*/ 1336419 w 1337016"/>
                <a:gd name="connsiteY63" fmla="*/ 879513 h 1041897"/>
                <a:gd name="connsiteX64" fmla="*/ 1336419 w 1337016"/>
                <a:gd name="connsiteY64" fmla="*/ 788682 h 1041897"/>
                <a:gd name="connsiteX65" fmla="*/ 1302594 w 1337016"/>
                <a:gd name="connsiteY65" fmla="*/ 661165 h 1041897"/>
                <a:gd name="connsiteX66" fmla="*/ 1277581 w 1337016"/>
                <a:gd name="connsiteY66" fmla="*/ 599799 h 1041897"/>
                <a:gd name="connsiteX67" fmla="*/ 1244510 w 1337016"/>
                <a:gd name="connsiteY67" fmla="*/ 535160 h 1041897"/>
                <a:gd name="connsiteX68" fmla="*/ 1171486 w 1337016"/>
                <a:gd name="connsiteY68" fmla="*/ 392449 h 1041897"/>
                <a:gd name="connsiteX69" fmla="*/ 1095609 w 1337016"/>
                <a:gd name="connsiteY69" fmla="*/ 262246 h 1041897"/>
                <a:gd name="connsiteX70" fmla="*/ 1020067 w 1337016"/>
                <a:gd name="connsiteY70" fmla="*/ 109209 h 1041897"/>
                <a:gd name="connsiteX71" fmla="*/ 996482 w 1337016"/>
                <a:gd name="connsiteY71" fmla="*/ 5450 h 1041897"/>
                <a:gd name="connsiteX72" fmla="*/ 969119 w 1337016"/>
                <a:gd name="connsiteY72" fmla="*/ 7381 h 1041897"/>
                <a:gd name="connsiteX73" fmla="*/ 928662 w 1337016"/>
                <a:gd name="connsiteY73" fmla="*/ 2260 h 104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1337016" h="1041897">
                  <a:moveTo>
                    <a:pt x="928578" y="2344"/>
                  </a:moveTo>
                  <a:cubicBezTo>
                    <a:pt x="918506" y="-1770"/>
                    <a:pt x="908853" y="-426"/>
                    <a:pt x="901635" y="6038"/>
                  </a:cubicBezTo>
                  <a:cubicBezTo>
                    <a:pt x="900292" y="7213"/>
                    <a:pt x="898697" y="8304"/>
                    <a:pt x="897102" y="9312"/>
                  </a:cubicBezTo>
                  <a:cubicBezTo>
                    <a:pt x="894500" y="10991"/>
                    <a:pt x="891982" y="12586"/>
                    <a:pt x="891395" y="14768"/>
                  </a:cubicBezTo>
                  <a:cubicBezTo>
                    <a:pt x="890387" y="18126"/>
                    <a:pt x="891647" y="24338"/>
                    <a:pt x="892402" y="28116"/>
                  </a:cubicBezTo>
                  <a:cubicBezTo>
                    <a:pt x="893577" y="34160"/>
                    <a:pt x="896012" y="38441"/>
                    <a:pt x="901131" y="43814"/>
                  </a:cubicBezTo>
                  <a:cubicBezTo>
                    <a:pt x="906839" y="49774"/>
                    <a:pt x="907846" y="54140"/>
                    <a:pt x="907846" y="61527"/>
                  </a:cubicBezTo>
                  <a:cubicBezTo>
                    <a:pt x="907846" y="65053"/>
                    <a:pt x="907175" y="67991"/>
                    <a:pt x="906587" y="70677"/>
                  </a:cubicBezTo>
                  <a:cubicBezTo>
                    <a:pt x="906251" y="72272"/>
                    <a:pt x="905916" y="73867"/>
                    <a:pt x="905664" y="75630"/>
                  </a:cubicBezTo>
                  <a:cubicBezTo>
                    <a:pt x="905580" y="76638"/>
                    <a:pt x="905580" y="77561"/>
                    <a:pt x="905496" y="78568"/>
                  </a:cubicBezTo>
                  <a:cubicBezTo>
                    <a:pt x="905496" y="82514"/>
                    <a:pt x="905328" y="88474"/>
                    <a:pt x="898529" y="91328"/>
                  </a:cubicBezTo>
                  <a:cubicBezTo>
                    <a:pt x="896095" y="92336"/>
                    <a:pt x="893745" y="92756"/>
                    <a:pt x="891647" y="92756"/>
                  </a:cubicBezTo>
                  <a:cubicBezTo>
                    <a:pt x="881574" y="92756"/>
                    <a:pt x="874608" y="83018"/>
                    <a:pt x="870159" y="76722"/>
                  </a:cubicBezTo>
                  <a:lnTo>
                    <a:pt x="868229" y="74035"/>
                  </a:lnTo>
                  <a:cubicBezTo>
                    <a:pt x="867138" y="72524"/>
                    <a:pt x="866131" y="70929"/>
                    <a:pt x="865123" y="69334"/>
                  </a:cubicBezTo>
                  <a:cubicBezTo>
                    <a:pt x="858996" y="59680"/>
                    <a:pt x="855974" y="56490"/>
                    <a:pt x="845482" y="57498"/>
                  </a:cubicBezTo>
                  <a:cubicBezTo>
                    <a:pt x="842125" y="57833"/>
                    <a:pt x="838852" y="58085"/>
                    <a:pt x="835494" y="58337"/>
                  </a:cubicBezTo>
                  <a:lnTo>
                    <a:pt x="783958" y="62534"/>
                  </a:lnTo>
                  <a:cubicBezTo>
                    <a:pt x="739892" y="66144"/>
                    <a:pt x="695742" y="69754"/>
                    <a:pt x="651676" y="73364"/>
                  </a:cubicBezTo>
                  <a:cubicBezTo>
                    <a:pt x="608617" y="76890"/>
                    <a:pt x="565475" y="80499"/>
                    <a:pt x="522416" y="84109"/>
                  </a:cubicBezTo>
                  <a:cubicBezTo>
                    <a:pt x="508147" y="85368"/>
                    <a:pt x="493878" y="86544"/>
                    <a:pt x="479609" y="87887"/>
                  </a:cubicBezTo>
                  <a:cubicBezTo>
                    <a:pt x="477846" y="88055"/>
                    <a:pt x="475999" y="88139"/>
                    <a:pt x="474153" y="88222"/>
                  </a:cubicBezTo>
                  <a:cubicBezTo>
                    <a:pt x="470292" y="88390"/>
                    <a:pt x="466263" y="88558"/>
                    <a:pt x="463074" y="89482"/>
                  </a:cubicBezTo>
                  <a:cubicBezTo>
                    <a:pt x="452162" y="92756"/>
                    <a:pt x="442593" y="94267"/>
                    <a:pt x="436634" y="79912"/>
                  </a:cubicBezTo>
                  <a:cubicBezTo>
                    <a:pt x="432857" y="70761"/>
                    <a:pt x="426729" y="62451"/>
                    <a:pt x="420770" y="54476"/>
                  </a:cubicBezTo>
                  <a:lnTo>
                    <a:pt x="416741" y="49019"/>
                  </a:lnTo>
                  <a:cubicBezTo>
                    <a:pt x="414559" y="46081"/>
                    <a:pt x="412376" y="43143"/>
                    <a:pt x="410194" y="40121"/>
                  </a:cubicBezTo>
                  <a:cubicBezTo>
                    <a:pt x="253404" y="50278"/>
                    <a:pt x="17713" y="67823"/>
                    <a:pt x="4451" y="75211"/>
                  </a:cubicBezTo>
                  <a:cubicBezTo>
                    <a:pt x="1514" y="77981"/>
                    <a:pt x="-81" y="80919"/>
                    <a:pt x="3" y="83941"/>
                  </a:cubicBezTo>
                  <a:cubicBezTo>
                    <a:pt x="87" y="91832"/>
                    <a:pt x="10495" y="100815"/>
                    <a:pt x="18805" y="107950"/>
                  </a:cubicBezTo>
                  <a:cubicBezTo>
                    <a:pt x="21574" y="110385"/>
                    <a:pt x="24176" y="112651"/>
                    <a:pt x="26358" y="114750"/>
                  </a:cubicBezTo>
                  <a:lnTo>
                    <a:pt x="27786" y="116093"/>
                  </a:lnTo>
                  <a:cubicBezTo>
                    <a:pt x="43061" y="131036"/>
                    <a:pt x="49357" y="137164"/>
                    <a:pt x="50112" y="161593"/>
                  </a:cubicBezTo>
                  <a:lnTo>
                    <a:pt x="50112" y="164363"/>
                  </a:lnTo>
                  <a:cubicBezTo>
                    <a:pt x="50532" y="173177"/>
                    <a:pt x="51035" y="185854"/>
                    <a:pt x="49105" y="196515"/>
                  </a:cubicBezTo>
                  <a:cubicBezTo>
                    <a:pt x="59261" y="190806"/>
                    <a:pt x="69837" y="185266"/>
                    <a:pt x="80581" y="180565"/>
                  </a:cubicBezTo>
                  <a:cubicBezTo>
                    <a:pt x="99131" y="172590"/>
                    <a:pt x="127836" y="174101"/>
                    <a:pt x="147729" y="174017"/>
                  </a:cubicBezTo>
                  <a:cubicBezTo>
                    <a:pt x="173329" y="174017"/>
                    <a:pt x="199013" y="174521"/>
                    <a:pt x="223942" y="181068"/>
                  </a:cubicBezTo>
                  <a:cubicBezTo>
                    <a:pt x="262888" y="191310"/>
                    <a:pt x="298477" y="196683"/>
                    <a:pt x="336080" y="216746"/>
                  </a:cubicBezTo>
                  <a:cubicBezTo>
                    <a:pt x="362351" y="230766"/>
                    <a:pt x="380565" y="249990"/>
                    <a:pt x="402221" y="266611"/>
                  </a:cubicBezTo>
                  <a:cubicBezTo>
                    <a:pt x="421190" y="281218"/>
                    <a:pt x="434284" y="272991"/>
                    <a:pt x="450483" y="253851"/>
                  </a:cubicBezTo>
                  <a:cubicBezTo>
                    <a:pt x="507224" y="187113"/>
                    <a:pt x="592837" y="155465"/>
                    <a:pt x="665441" y="211541"/>
                  </a:cubicBezTo>
                  <a:cubicBezTo>
                    <a:pt x="698847" y="237313"/>
                    <a:pt x="734520" y="267703"/>
                    <a:pt x="762135" y="299603"/>
                  </a:cubicBezTo>
                  <a:cubicBezTo>
                    <a:pt x="774725" y="314126"/>
                    <a:pt x="778922" y="332594"/>
                    <a:pt x="792519" y="346529"/>
                  </a:cubicBezTo>
                  <a:cubicBezTo>
                    <a:pt x="799402" y="353581"/>
                    <a:pt x="808803" y="356771"/>
                    <a:pt x="815937" y="365250"/>
                  </a:cubicBezTo>
                  <a:cubicBezTo>
                    <a:pt x="824667" y="375659"/>
                    <a:pt x="824331" y="384138"/>
                    <a:pt x="828611" y="396646"/>
                  </a:cubicBezTo>
                  <a:cubicBezTo>
                    <a:pt x="836333" y="419144"/>
                    <a:pt x="850015" y="428546"/>
                    <a:pt x="847077" y="455410"/>
                  </a:cubicBezTo>
                  <a:cubicBezTo>
                    <a:pt x="844811" y="476480"/>
                    <a:pt x="839103" y="494697"/>
                    <a:pt x="839187" y="516272"/>
                  </a:cubicBezTo>
                  <a:cubicBezTo>
                    <a:pt x="839187" y="529787"/>
                    <a:pt x="825590" y="568151"/>
                    <a:pt x="839187" y="574699"/>
                  </a:cubicBezTo>
                  <a:cubicBezTo>
                    <a:pt x="866802" y="588131"/>
                    <a:pt x="853288" y="541540"/>
                    <a:pt x="858408" y="533817"/>
                  </a:cubicBezTo>
                  <a:cubicBezTo>
                    <a:pt x="870914" y="514760"/>
                    <a:pt x="896515" y="544898"/>
                    <a:pt x="897942" y="563954"/>
                  </a:cubicBezTo>
                  <a:cubicBezTo>
                    <a:pt x="899788" y="587543"/>
                    <a:pt x="879980" y="597113"/>
                    <a:pt x="878972" y="618604"/>
                  </a:cubicBezTo>
                  <a:cubicBezTo>
                    <a:pt x="877378" y="653022"/>
                    <a:pt x="909609" y="703307"/>
                    <a:pt x="938231" y="721355"/>
                  </a:cubicBezTo>
                  <a:cubicBezTo>
                    <a:pt x="954598" y="731681"/>
                    <a:pt x="979527" y="721355"/>
                    <a:pt x="988424" y="740831"/>
                  </a:cubicBezTo>
                  <a:cubicBezTo>
                    <a:pt x="999671" y="765428"/>
                    <a:pt x="980534" y="775166"/>
                    <a:pt x="1009240" y="792124"/>
                  </a:cubicBezTo>
                  <a:cubicBezTo>
                    <a:pt x="1032910" y="806059"/>
                    <a:pt x="1038449" y="813446"/>
                    <a:pt x="1046843" y="839386"/>
                  </a:cubicBezTo>
                  <a:cubicBezTo>
                    <a:pt x="1051879" y="855168"/>
                    <a:pt x="1060440" y="879597"/>
                    <a:pt x="1074206" y="889922"/>
                  </a:cubicBezTo>
                  <a:cubicBezTo>
                    <a:pt x="1089650" y="901423"/>
                    <a:pt x="1113487" y="902599"/>
                    <a:pt x="1131953" y="908223"/>
                  </a:cubicBezTo>
                  <a:cubicBezTo>
                    <a:pt x="1161498" y="917205"/>
                    <a:pt x="1161834" y="921822"/>
                    <a:pt x="1168549" y="948602"/>
                  </a:cubicBezTo>
                  <a:cubicBezTo>
                    <a:pt x="1176103" y="978655"/>
                    <a:pt x="1196163" y="975214"/>
                    <a:pt x="1214378" y="993262"/>
                  </a:cubicBezTo>
                  <a:cubicBezTo>
                    <a:pt x="1242915" y="1021468"/>
                    <a:pt x="1197591" y="1010975"/>
                    <a:pt x="1198262" y="1032382"/>
                  </a:cubicBezTo>
                  <a:cubicBezTo>
                    <a:pt x="1198765" y="1048332"/>
                    <a:pt x="1242580" y="1043295"/>
                    <a:pt x="1271286" y="1024239"/>
                  </a:cubicBezTo>
                  <a:cubicBezTo>
                    <a:pt x="1295207" y="1008372"/>
                    <a:pt x="1310651" y="983272"/>
                    <a:pt x="1318457" y="956997"/>
                  </a:cubicBezTo>
                  <a:cubicBezTo>
                    <a:pt x="1326011" y="931561"/>
                    <a:pt x="1336419" y="908391"/>
                    <a:pt x="1336419" y="879513"/>
                  </a:cubicBezTo>
                  <a:cubicBezTo>
                    <a:pt x="1336419" y="849376"/>
                    <a:pt x="1337762" y="818819"/>
                    <a:pt x="1336419" y="788682"/>
                  </a:cubicBezTo>
                  <a:cubicBezTo>
                    <a:pt x="1334573" y="744441"/>
                    <a:pt x="1316527" y="701796"/>
                    <a:pt x="1302594" y="661165"/>
                  </a:cubicBezTo>
                  <a:cubicBezTo>
                    <a:pt x="1294955" y="638919"/>
                    <a:pt x="1289332" y="620618"/>
                    <a:pt x="1277581" y="599799"/>
                  </a:cubicBezTo>
                  <a:cubicBezTo>
                    <a:pt x="1265998" y="579316"/>
                    <a:pt x="1255086" y="556734"/>
                    <a:pt x="1244510" y="535160"/>
                  </a:cubicBezTo>
                  <a:cubicBezTo>
                    <a:pt x="1219833" y="484707"/>
                    <a:pt x="1202962" y="439207"/>
                    <a:pt x="1171486" y="392449"/>
                  </a:cubicBezTo>
                  <a:cubicBezTo>
                    <a:pt x="1143620" y="351062"/>
                    <a:pt x="1118104" y="305815"/>
                    <a:pt x="1095609" y="262246"/>
                  </a:cubicBezTo>
                  <a:cubicBezTo>
                    <a:pt x="1069337" y="211290"/>
                    <a:pt x="1041890" y="161509"/>
                    <a:pt x="1020067" y="109209"/>
                  </a:cubicBezTo>
                  <a:cubicBezTo>
                    <a:pt x="1006890" y="77645"/>
                    <a:pt x="999252" y="41547"/>
                    <a:pt x="996482" y="5450"/>
                  </a:cubicBezTo>
                  <a:cubicBezTo>
                    <a:pt x="989767" y="6709"/>
                    <a:pt x="980618" y="7381"/>
                    <a:pt x="969119" y="7381"/>
                  </a:cubicBezTo>
                  <a:cubicBezTo>
                    <a:pt x="955102" y="7381"/>
                    <a:pt x="940413" y="6961"/>
                    <a:pt x="928662" y="226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4C1FC53-5304-A73F-C6A3-89B1546E77EB}"/>
                </a:ext>
              </a:extLst>
            </p:cNvPr>
            <p:cNvSpPr/>
            <p:nvPr/>
          </p:nvSpPr>
          <p:spPr>
            <a:xfrm>
              <a:off x="8306050" y="3192155"/>
              <a:ext cx="801970" cy="518574"/>
            </a:xfrm>
            <a:custGeom>
              <a:avLst/>
              <a:gdLst>
                <a:gd name="connsiteX0" fmla="*/ 17207 w 887874"/>
                <a:gd name="connsiteY0" fmla="*/ 15530 h 574122"/>
                <a:gd name="connsiteX1" fmla="*/ 7638 w 887874"/>
                <a:gd name="connsiteY1" fmla="*/ 26444 h 574122"/>
                <a:gd name="connsiteX2" fmla="*/ 16032 w 887874"/>
                <a:gd name="connsiteY2" fmla="*/ 56161 h 574122"/>
                <a:gd name="connsiteX3" fmla="*/ 25600 w 887874"/>
                <a:gd name="connsiteY3" fmla="*/ 97883 h 574122"/>
                <a:gd name="connsiteX4" fmla="*/ 16367 w 887874"/>
                <a:gd name="connsiteY4" fmla="*/ 117611 h 574122"/>
                <a:gd name="connsiteX5" fmla="*/ 7219 w 887874"/>
                <a:gd name="connsiteY5" fmla="*/ 137590 h 574122"/>
                <a:gd name="connsiteX6" fmla="*/ 4617 w 887874"/>
                <a:gd name="connsiteY6" fmla="*/ 149511 h 574122"/>
                <a:gd name="connsiteX7" fmla="*/ 0 w 887874"/>
                <a:gd name="connsiteY7" fmla="*/ 166468 h 574122"/>
                <a:gd name="connsiteX8" fmla="*/ 21907 w 887874"/>
                <a:gd name="connsiteY8" fmla="*/ 195010 h 574122"/>
                <a:gd name="connsiteX9" fmla="*/ 42639 w 887874"/>
                <a:gd name="connsiteY9" fmla="*/ 237656 h 574122"/>
                <a:gd name="connsiteX10" fmla="*/ 69498 w 887874"/>
                <a:gd name="connsiteY10" fmla="*/ 290963 h 574122"/>
                <a:gd name="connsiteX11" fmla="*/ 84103 w 887874"/>
                <a:gd name="connsiteY11" fmla="*/ 372308 h 574122"/>
                <a:gd name="connsiteX12" fmla="*/ 84103 w 887874"/>
                <a:gd name="connsiteY12" fmla="*/ 373567 h 574122"/>
                <a:gd name="connsiteX13" fmla="*/ 91993 w 887874"/>
                <a:gd name="connsiteY13" fmla="*/ 409077 h 574122"/>
                <a:gd name="connsiteX14" fmla="*/ 92665 w 887874"/>
                <a:gd name="connsiteY14" fmla="*/ 410084 h 574122"/>
                <a:gd name="connsiteX15" fmla="*/ 112893 w 887874"/>
                <a:gd name="connsiteY15" fmla="*/ 449120 h 574122"/>
                <a:gd name="connsiteX16" fmla="*/ 114488 w 887874"/>
                <a:gd name="connsiteY16" fmla="*/ 500076 h 574122"/>
                <a:gd name="connsiteX17" fmla="*/ 113397 w 887874"/>
                <a:gd name="connsiteY17" fmla="*/ 535334 h 574122"/>
                <a:gd name="connsiteX18" fmla="*/ 118936 w 887874"/>
                <a:gd name="connsiteY18" fmla="*/ 558504 h 574122"/>
                <a:gd name="connsiteX19" fmla="*/ 693809 w 887874"/>
                <a:gd name="connsiteY19" fmla="*/ 544569 h 574122"/>
                <a:gd name="connsiteX20" fmla="*/ 705475 w 887874"/>
                <a:gd name="connsiteY20" fmla="*/ 561190 h 574122"/>
                <a:gd name="connsiteX21" fmla="*/ 716555 w 887874"/>
                <a:gd name="connsiteY21" fmla="*/ 574034 h 574122"/>
                <a:gd name="connsiteX22" fmla="*/ 737119 w 887874"/>
                <a:gd name="connsiteY22" fmla="*/ 552711 h 574122"/>
                <a:gd name="connsiteX23" fmla="*/ 739301 w 887874"/>
                <a:gd name="connsiteY23" fmla="*/ 548598 h 574122"/>
                <a:gd name="connsiteX24" fmla="*/ 750801 w 887874"/>
                <a:gd name="connsiteY24" fmla="*/ 529794 h 574122"/>
                <a:gd name="connsiteX25" fmla="*/ 761292 w 887874"/>
                <a:gd name="connsiteY25" fmla="*/ 512836 h 574122"/>
                <a:gd name="connsiteX26" fmla="*/ 773211 w 887874"/>
                <a:gd name="connsiteY26" fmla="*/ 496299 h 574122"/>
                <a:gd name="connsiteX27" fmla="*/ 788236 w 887874"/>
                <a:gd name="connsiteY27" fmla="*/ 472709 h 574122"/>
                <a:gd name="connsiteX28" fmla="*/ 777911 w 887874"/>
                <a:gd name="connsiteY28" fmla="*/ 425531 h 574122"/>
                <a:gd name="connsiteX29" fmla="*/ 771700 w 887874"/>
                <a:gd name="connsiteY29" fmla="*/ 413946 h 574122"/>
                <a:gd name="connsiteX30" fmla="*/ 776569 w 887874"/>
                <a:gd name="connsiteY30" fmla="*/ 382382 h 574122"/>
                <a:gd name="connsiteX31" fmla="*/ 810059 w 887874"/>
                <a:gd name="connsiteY31" fmla="*/ 373483 h 574122"/>
                <a:gd name="connsiteX32" fmla="*/ 860252 w 887874"/>
                <a:gd name="connsiteY32" fmla="*/ 346200 h 574122"/>
                <a:gd name="connsiteX33" fmla="*/ 872339 w 887874"/>
                <a:gd name="connsiteY33" fmla="*/ 315223 h 574122"/>
                <a:gd name="connsiteX34" fmla="*/ 879977 w 887874"/>
                <a:gd name="connsiteY34" fmla="*/ 291298 h 574122"/>
                <a:gd name="connsiteX35" fmla="*/ 886943 w 887874"/>
                <a:gd name="connsiteY35" fmla="*/ 252766 h 574122"/>
                <a:gd name="connsiteX36" fmla="*/ 869653 w 887874"/>
                <a:gd name="connsiteY36" fmla="*/ 228254 h 574122"/>
                <a:gd name="connsiteX37" fmla="*/ 855216 w 887874"/>
                <a:gd name="connsiteY37" fmla="*/ 221538 h 574122"/>
                <a:gd name="connsiteX38" fmla="*/ 830623 w 887874"/>
                <a:gd name="connsiteY38" fmla="*/ 206847 h 574122"/>
                <a:gd name="connsiteX39" fmla="*/ 820635 w 887874"/>
                <a:gd name="connsiteY39" fmla="*/ 189218 h 574122"/>
                <a:gd name="connsiteX40" fmla="*/ 807960 w 887874"/>
                <a:gd name="connsiteY40" fmla="*/ 169574 h 574122"/>
                <a:gd name="connsiteX41" fmla="*/ 786809 w 887874"/>
                <a:gd name="connsiteY41" fmla="*/ 155051 h 574122"/>
                <a:gd name="connsiteX42" fmla="*/ 748283 w 887874"/>
                <a:gd name="connsiteY42" fmla="*/ 117946 h 574122"/>
                <a:gd name="connsiteX43" fmla="*/ 745848 w 887874"/>
                <a:gd name="connsiteY43" fmla="*/ 113245 h 574122"/>
                <a:gd name="connsiteX44" fmla="*/ 735860 w 887874"/>
                <a:gd name="connsiteY44" fmla="*/ 74965 h 574122"/>
                <a:gd name="connsiteX45" fmla="*/ 741064 w 887874"/>
                <a:gd name="connsiteY45" fmla="*/ 59855 h 574122"/>
                <a:gd name="connsiteX46" fmla="*/ 745764 w 887874"/>
                <a:gd name="connsiteY46" fmla="*/ 38532 h 574122"/>
                <a:gd name="connsiteX47" fmla="*/ 737539 w 887874"/>
                <a:gd name="connsiteY47" fmla="*/ 22834 h 574122"/>
                <a:gd name="connsiteX48" fmla="*/ 727466 w 887874"/>
                <a:gd name="connsiteY48" fmla="*/ 2015 h 574122"/>
                <a:gd name="connsiteX49" fmla="*/ 727215 w 887874"/>
                <a:gd name="connsiteY49" fmla="*/ 0 h 574122"/>
                <a:gd name="connsiteX50" fmla="*/ 23754 w 887874"/>
                <a:gd name="connsiteY50" fmla="*/ 9570 h 574122"/>
                <a:gd name="connsiteX51" fmla="*/ 17123 w 887874"/>
                <a:gd name="connsiteY51" fmla="*/ 15362 h 57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87874" h="574122">
                  <a:moveTo>
                    <a:pt x="17207" y="15530"/>
                  </a:moveTo>
                  <a:cubicBezTo>
                    <a:pt x="12674" y="19140"/>
                    <a:pt x="8813" y="22246"/>
                    <a:pt x="7638" y="26444"/>
                  </a:cubicBezTo>
                  <a:cubicBezTo>
                    <a:pt x="4533" y="37609"/>
                    <a:pt x="9821" y="46171"/>
                    <a:pt x="16032" y="56161"/>
                  </a:cubicBezTo>
                  <a:cubicBezTo>
                    <a:pt x="22998" y="67410"/>
                    <a:pt x="30972" y="80170"/>
                    <a:pt x="25600" y="97883"/>
                  </a:cubicBezTo>
                  <a:cubicBezTo>
                    <a:pt x="23418" y="104935"/>
                    <a:pt x="19809" y="111399"/>
                    <a:pt x="16367" y="117611"/>
                  </a:cubicBezTo>
                  <a:cubicBezTo>
                    <a:pt x="12590" y="124243"/>
                    <a:pt x="9065" y="130539"/>
                    <a:pt x="7219" y="137590"/>
                  </a:cubicBezTo>
                  <a:cubicBezTo>
                    <a:pt x="5959" y="142207"/>
                    <a:pt x="5288" y="145985"/>
                    <a:pt x="4617" y="149511"/>
                  </a:cubicBezTo>
                  <a:cubicBezTo>
                    <a:pt x="3609" y="155051"/>
                    <a:pt x="2686" y="160004"/>
                    <a:pt x="0" y="166468"/>
                  </a:cubicBezTo>
                  <a:cubicBezTo>
                    <a:pt x="8897" y="174443"/>
                    <a:pt x="15528" y="183258"/>
                    <a:pt x="21907" y="195010"/>
                  </a:cubicBezTo>
                  <a:cubicBezTo>
                    <a:pt x="29461" y="208862"/>
                    <a:pt x="36176" y="223469"/>
                    <a:pt x="42639" y="237656"/>
                  </a:cubicBezTo>
                  <a:cubicBezTo>
                    <a:pt x="50865" y="255621"/>
                    <a:pt x="59342" y="274089"/>
                    <a:pt x="69498" y="290963"/>
                  </a:cubicBezTo>
                  <a:cubicBezTo>
                    <a:pt x="84103" y="315140"/>
                    <a:pt x="84103" y="344185"/>
                    <a:pt x="84103" y="372308"/>
                  </a:cubicBezTo>
                  <a:lnTo>
                    <a:pt x="84103" y="373567"/>
                  </a:lnTo>
                  <a:cubicBezTo>
                    <a:pt x="84103" y="388929"/>
                    <a:pt x="84439" y="398164"/>
                    <a:pt x="91993" y="409077"/>
                  </a:cubicBezTo>
                  <a:lnTo>
                    <a:pt x="92665" y="410084"/>
                  </a:lnTo>
                  <a:cubicBezTo>
                    <a:pt x="101729" y="423264"/>
                    <a:pt x="108276" y="432750"/>
                    <a:pt x="112893" y="449120"/>
                  </a:cubicBezTo>
                  <a:cubicBezTo>
                    <a:pt x="117761" y="466329"/>
                    <a:pt x="116083" y="483539"/>
                    <a:pt x="114488" y="500076"/>
                  </a:cubicBezTo>
                  <a:cubicBezTo>
                    <a:pt x="113313" y="512249"/>
                    <a:pt x="112138" y="523749"/>
                    <a:pt x="113397" y="535334"/>
                  </a:cubicBezTo>
                  <a:cubicBezTo>
                    <a:pt x="114236" y="542889"/>
                    <a:pt x="116250" y="550781"/>
                    <a:pt x="118936" y="558504"/>
                  </a:cubicBezTo>
                  <a:lnTo>
                    <a:pt x="693809" y="544569"/>
                  </a:lnTo>
                  <a:cubicBezTo>
                    <a:pt x="700355" y="547255"/>
                    <a:pt x="703125" y="555398"/>
                    <a:pt x="705475" y="561190"/>
                  </a:cubicBezTo>
                  <a:cubicBezTo>
                    <a:pt x="708413" y="568494"/>
                    <a:pt x="710512" y="573027"/>
                    <a:pt x="716555" y="574034"/>
                  </a:cubicBezTo>
                  <a:cubicBezTo>
                    <a:pt x="725284" y="575377"/>
                    <a:pt x="732670" y="561190"/>
                    <a:pt x="737119" y="552711"/>
                  </a:cubicBezTo>
                  <a:cubicBezTo>
                    <a:pt x="737958" y="551200"/>
                    <a:pt x="738630" y="549773"/>
                    <a:pt x="739301" y="548598"/>
                  </a:cubicBezTo>
                  <a:cubicBezTo>
                    <a:pt x="742743" y="542386"/>
                    <a:pt x="746855" y="536006"/>
                    <a:pt x="750801" y="529794"/>
                  </a:cubicBezTo>
                  <a:cubicBezTo>
                    <a:pt x="754410" y="524169"/>
                    <a:pt x="758019" y="518545"/>
                    <a:pt x="761292" y="512836"/>
                  </a:cubicBezTo>
                  <a:cubicBezTo>
                    <a:pt x="764734" y="506876"/>
                    <a:pt x="769014" y="501503"/>
                    <a:pt x="773211" y="496299"/>
                  </a:cubicBezTo>
                  <a:cubicBezTo>
                    <a:pt x="779338" y="488659"/>
                    <a:pt x="785046" y="481356"/>
                    <a:pt x="788236" y="472709"/>
                  </a:cubicBezTo>
                  <a:cubicBezTo>
                    <a:pt x="794614" y="455332"/>
                    <a:pt x="786473" y="440893"/>
                    <a:pt x="777911" y="425531"/>
                  </a:cubicBezTo>
                  <a:cubicBezTo>
                    <a:pt x="775813" y="421753"/>
                    <a:pt x="773631" y="417891"/>
                    <a:pt x="771700" y="413946"/>
                  </a:cubicBezTo>
                  <a:cubicBezTo>
                    <a:pt x="767084" y="404712"/>
                    <a:pt x="760201" y="390860"/>
                    <a:pt x="776569" y="382382"/>
                  </a:cubicBezTo>
                  <a:cubicBezTo>
                    <a:pt x="786473" y="377345"/>
                    <a:pt x="796125" y="374742"/>
                    <a:pt x="810059" y="373483"/>
                  </a:cubicBezTo>
                  <a:cubicBezTo>
                    <a:pt x="834904" y="371301"/>
                    <a:pt x="850851" y="362570"/>
                    <a:pt x="860252" y="346200"/>
                  </a:cubicBezTo>
                  <a:cubicBezTo>
                    <a:pt x="866127" y="336042"/>
                    <a:pt x="870156" y="327312"/>
                    <a:pt x="872339" y="315223"/>
                  </a:cubicBezTo>
                  <a:cubicBezTo>
                    <a:pt x="873849" y="306913"/>
                    <a:pt x="876955" y="299022"/>
                    <a:pt x="879977" y="291298"/>
                  </a:cubicBezTo>
                  <a:cubicBezTo>
                    <a:pt x="885097" y="278287"/>
                    <a:pt x="889965" y="265946"/>
                    <a:pt x="886943" y="252766"/>
                  </a:cubicBezTo>
                  <a:cubicBezTo>
                    <a:pt x="884761" y="243112"/>
                    <a:pt x="878298" y="233962"/>
                    <a:pt x="869653" y="228254"/>
                  </a:cubicBezTo>
                  <a:cubicBezTo>
                    <a:pt x="865372" y="225399"/>
                    <a:pt x="860420" y="223553"/>
                    <a:pt x="855216" y="221538"/>
                  </a:cubicBezTo>
                  <a:cubicBezTo>
                    <a:pt x="846570" y="218264"/>
                    <a:pt x="837673" y="214906"/>
                    <a:pt x="830623" y="206847"/>
                  </a:cubicBezTo>
                  <a:cubicBezTo>
                    <a:pt x="826007" y="201558"/>
                    <a:pt x="823237" y="195262"/>
                    <a:pt x="820635" y="189218"/>
                  </a:cubicBezTo>
                  <a:cubicBezTo>
                    <a:pt x="817361" y="181747"/>
                    <a:pt x="814256" y="174695"/>
                    <a:pt x="807960" y="169574"/>
                  </a:cubicBezTo>
                  <a:cubicBezTo>
                    <a:pt x="800910" y="163866"/>
                    <a:pt x="793775" y="159417"/>
                    <a:pt x="786809" y="155051"/>
                  </a:cubicBezTo>
                  <a:cubicBezTo>
                    <a:pt x="772036" y="145901"/>
                    <a:pt x="758019" y="137171"/>
                    <a:pt x="748283" y="117946"/>
                  </a:cubicBezTo>
                  <a:lnTo>
                    <a:pt x="745848" y="113245"/>
                  </a:lnTo>
                  <a:cubicBezTo>
                    <a:pt x="739805" y="101661"/>
                    <a:pt x="733510" y="89656"/>
                    <a:pt x="735860" y="74965"/>
                  </a:cubicBezTo>
                  <a:cubicBezTo>
                    <a:pt x="736699" y="69593"/>
                    <a:pt x="738965" y="64640"/>
                    <a:pt x="741064" y="59855"/>
                  </a:cubicBezTo>
                  <a:cubicBezTo>
                    <a:pt x="744253" y="52719"/>
                    <a:pt x="747191" y="45919"/>
                    <a:pt x="745764" y="38532"/>
                  </a:cubicBezTo>
                  <a:cubicBezTo>
                    <a:pt x="744589" y="32740"/>
                    <a:pt x="741232" y="27871"/>
                    <a:pt x="737539" y="22834"/>
                  </a:cubicBezTo>
                  <a:cubicBezTo>
                    <a:pt x="733258" y="16790"/>
                    <a:pt x="728810" y="10577"/>
                    <a:pt x="727466" y="2015"/>
                  </a:cubicBezTo>
                  <a:cubicBezTo>
                    <a:pt x="727383" y="1343"/>
                    <a:pt x="727299" y="672"/>
                    <a:pt x="727215" y="0"/>
                  </a:cubicBezTo>
                  <a:lnTo>
                    <a:pt x="23754" y="9570"/>
                  </a:lnTo>
                  <a:cubicBezTo>
                    <a:pt x="21655" y="11669"/>
                    <a:pt x="19305" y="13600"/>
                    <a:pt x="17123" y="1536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08E3D67B-799C-2F03-3BEB-6AC7206FC29E}"/>
                </a:ext>
              </a:extLst>
            </p:cNvPr>
            <p:cNvSpPr/>
            <p:nvPr/>
          </p:nvSpPr>
          <p:spPr>
            <a:xfrm>
              <a:off x="5117303" y="1840741"/>
              <a:ext cx="908254" cy="659885"/>
            </a:xfrm>
            <a:custGeom>
              <a:avLst/>
              <a:gdLst>
                <a:gd name="connsiteX0" fmla="*/ 39869 w 1005543"/>
                <a:gd name="connsiteY0" fmla="*/ 460511 h 730570"/>
                <a:gd name="connsiteX1" fmla="*/ 57328 w 1005543"/>
                <a:gd name="connsiteY1" fmla="*/ 464793 h 730570"/>
                <a:gd name="connsiteX2" fmla="*/ 85194 w 1005543"/>
                <a:gd name="connsiteY2" fmla="*/ 472936 h 730570"/>
                <a:gd name="connsiteX3" fmla="*/ 101310 w 1005543"/>
                <a:gd name="connsiteY3" fmla="*/ 478392 h 730570"/>
                <a:gd name="connsiteX4" fmla="*/ 128505 w 1005543"/>
                <a:gd name="connsiteY4" fmla="*/ 491236 h 730570"/>
                <a:gd name="connsiteX5" fmla="*/ 134800 w 1005543"/>
                <a:gd name="connsiteY5" fmla="*/ 502401 h 730570"/>
                <a:gd name="connsiteX6" fmla="*/ 138661 w 1005543"/>
                <a:gd name="connsiteY6" fmla="*/ 509957 h 730570"/>
                <a:gd name="connsiteX7" fmla="*/ 144033 w 1005543"/>
                <a:gd name="connsiteY7" fmla="*/ 516169 h 730570"/>
                <a:gd name="connsiteX8" fmla="*/ 151839 w 1005543"/>
                <a:gd name="connsiteY8" fmla="*/ 525823 h 730570"/>
                <a:gd name="connsiteX9" fmla="*/ 154105 w 1005543"/>
                <a:gd name="connsiteY9" fmla="*/ 573421 h 730570"/>
                <a:gd name="connsiteX10" fmla="*/ 151755 w 1005543"/>
                <a:gd name="connsiteY10" fmla="*/ 608091 h 730570"/>
                <a:gd name="connsiteX11" fmla="*/ 174249 w 1005543"/>
                <a:gd name="connsiteY11" fmla="*/ 644525 h 730570"/>
                <a:gd name="connsiteX12" fmla="*/ 210677 w 1005543"/>
                <a:gd name="connsiteY12" fmla="*/ 646120 h 730570"/>
                <a:gd name="connsiteX13" fmla="*/ 218567 w 1005543"/>
                <a:gd name="connsiteY13" fmla="*/ 645532 h 730570"/>
                <a:gd name="connsiteX14" fmla="*/ 251554 w 1005543"/>
                <a:gd name="connsiteY14" fmla="*/ 637221 h 730570"/>
                <a:gd name="connsiteX15" fmla="*/ 314505 w 1005543"/>
                <a:gd name="connsiteY15" fmla="*/ 635039 h 730570"/>
                <a:gd name="connsiteX16" fmla="*/ 329110 w 1005543"/>
                <a:gd name="connsiteY16" fmla="*/ 649226 h 730570"/>
                <a:gd name="connsiteX17" fmla="*/ 341700 w 1005543"/>
                <a:gd name="connsiteY17" fmla="*/ 661566 h 730570"/>
                <a:gd name="connsiteX18" fmla="*/ 383668 w 1005543"/>
                <a:gd name="connsiteY18" fmla="*/ 672143 h 730570"/>
                <a:gd name="connsiteX19" fmla="*/ 384171 w 1005543"/>
                <a:gd name="connsiteY19" fmla="*/ 672143 h 730570"/>
                <a:gd name="connsiteX20" fmla="*/ 429245 w 1005543"/>
                <a:gd name="connsiteY20" fmla="*/ 674998 h 730570"/>
                <a:gd name="connsiteX21" fmla="*/ 472303 w 1005543"/>
                <a:gd name="connsiteY21" fmla="*/ 677768 h 730570"/>
                <a:gd name="connsiteX22" fmla="*/ 501177 w 1005543"/>
                <a:gd name="connsiteY22" fmla="*/ 672899 h 730570"/>
                <a:gd name="connsiteX23" fmla="*/ 515026 w 1005543"/>
                <a:gd name="connsiteY23" fmla="*/ 669373 h 730570"/>
                <a:gd name="connsiteX24" fmla="*/ 547090 w 1005543"/>
                <a:gd name="connsiteY24" fmla="*/ 668702 h 730570"/>
                <a:gd name="connsiteX25" fmla="*/ 561862 w 1005543"/>
                <a:gd name="connsiteY25" fmla="*/ 669373 h 730570"/>
                <a:gd name="connsiteX26" fmla="*/ 636732 w 1005543"/>
                <a:gd name="connsiteY26" fmla="*/ 676677 h 730570"/>
                <a:gd name="connsiteX27" fmla="*/ 652344 w 1005543"/>
                <a:gd name="connsiteY27" fmla="*/ 679027 h 730570"/>
                <a:gd name="connsiteX28" fmla="*/ 690451 w 1005543"/>
                <a:gd name="connsiteY28" fmla="*/ 687842 h 730570"/>
                <a:gd name="connsiteX29" fmla="*/ 747191 w 1005543"/>
                <a:gd name="connsiteY29" fmla="*/ 703036 h 730570"/>
                <a:gd name="connsiteX30" fmla="*/ 801329 w 1005543"/>
                <a:gd name="connsiteY30" fmla="*/ 714285 h 730570"/>
                <a:gd name="connsiteX31" fmla="*/ 869401 w 1005543"/>
                <a:gd name="connsiteY31" fmla="*/ 727129 h 730570"/>
                <a:gd name="connsiteX32" fmla="*/ 874101 w 1005543"/>
                <a:gd name="connsiteY32" fmla="*/ 727465 h 730570"/>
                <a:gd name="connsiteX33" fmla="*/ 887615 w 1005543"/>
                <a:gd name="connsiteY33" fmla="*/ 730571 h 730570"/>
                <a:gd name="connsiteX34" fmla="*/ 1005544 w 1005543"/>
                <a:gd name="connsiteY34" fmla="*/ 206150 h 730570"/>
                <a:gd name="connsiteX35" fmla="*/ 336748 w 1005543"/>
                <a:gd name="connsiteY35" fmla="*/ 3752 h 730570"/>
                <a:gd name="connsiteX36" fmla="*/ 308714 w 1005543"/>
                <a:gd name="connsiteY36" fmla="*/ 38423 h 730570"/>
                <a:gd name="connsiteX37" fmla="*/ 321304 w 1005543"/>
                <a:gd name="connsiteY37" fmla="*/ 72086 h 730570"/>
                <a:gd name="connsiteX38" fmla="*/ 313918 w 1005543"/>
                <a:gd name="connsiteY38" fmla="*/ 108015 h 730570"/>
                <a:gd name="connsiteX39" fmla="*/ 291927 w 1005543"/>
                <a:gd name="connsiteY39" fmla="*/ 142098 h 730570"/>
                <a:gd name="connsiteX40" fmla="*/ 310141 w 1005543"/>
                <a:gd name="connsiteY40" fmla="*/ 174082 h 730570"/>
                <a:gd name="connsiteX41" fmla="*/ 300236 w 1005543"/>
                <a:gd name="connsiteY41" fmla="*/ 248376 h 730570"/>
                <a:gd name="connsiteX42" fmla="*/ 286471 w 1005543"/>
                <a:gd name="connsiteY42" fmla="*/ 332323 h 730570"/>
                <a:gd name="connsiteX43" fmla="*/ 202536 w 1005543"/>
                <a:gd name="connsiteY43" fmla="*/ 337612 h 730570"/>
                <a:gd name="connsiteX44" fmla="*/ 247525 w 1005543"/>
                <a:gd name="connsiteY44" fmla="*/ 308902 h 730570"/>
                <a:gd name="connsiteX45" fmla="*/ 282106 w 1005543"/>
                <a:gd name="connsiteY45" fmla="*/ 241408 h 730570"/>
                <a:gd name="connsiteX46" fmla="*/ 273377 w 1005543"/>
                <a:gd name="connsiteY46" fmla="*/ 175509 h 730570"/>
                <a:gd name="connsiteX47" fmla="*/ 247861 w 1005543"/>
                <a:gd name="connsiteY47" fmla="*/ 154186 h 730570"/>
                <a:gd name="connsiteX48" fmla="*/ 226289 w 1005543"/>
                <a:gd name="connsiteY48" fmla="*/ 136389 h 730570"/>
                <a:gd name="connsiteX49" fmla="*/ 204382 w 1005543"/>
                <a:gd name="connsiteY49" fmla="*/ 134039 h 730570"/>
                <a:gd name="connsiteX50" fmla="*/ 158889 w 1005543"/>
                <a:gd name="connsiteY50" fmla="*/ 112213 h 730570"/>
                <a:gd name="connsiteX51" fmla="*/ 87880 w 1005543"/>
                <a:gd name="connsiteY51" fmla="*/ 61844 h 730570"/>
                <a:gd name="connsiteX52" fmla="*/ 31895 w 1005543"/>
                <a:gd name="connsiteY52" fmla="*/ 84930 h 730570"/>
                <a:gd name="connsiteX53" fmla="*/ 24929 w 1005543"/>
                <a:gd name="connsiteY53" fmla="*/ 134291 h 730570"/>
                <a:gd name="connsiteX54" fmla="*/ 20312 w 1005543"/>
                <a:gd name="connsiteY54" fmla="*/ 178363 h 730570"/>
                <a:gd name="connsiteX55" fmla="*/ 41380 w 1005543"/>
                <a:gd name="connsiteY55" fmla="*/ 267768 h 730570"/>
                <a:gd name="connsiteX56" fmla="*/ 33406 w 1005543"/>
                <a:gd name="connsiteY56" fmla="*/ 333918 h 730570"/>
                <a:gd name="connsiteX57" fmla="*/ 31308 w 1005543"/>
                <a:gd name="connsiteY57" fmla="*/ 394361 h 730570"/>
                <a:gd name="connsiteX58" fmla="*/ 11919 w 1005543"/>
                <a:gd name="connsiteY58" fmla="*/ 423239 h 730570"/>
                <a:gd name="connsiteX59" fmla="*/ 0 w 1005543"/>
                <a:gd name="connsiteY59" fmla="*/ 447416 h 730570"/>
                <a:gd name="connsiteX60" fmla="*/ 23418 w 1005543"/>
                <a:gd name="connsiteY60" fmla="*/ 455139 h 730570"/>
                <a:gd name="connsiteX61" fmla="*/ 39869 w 1005543"/>
                <a:gd name="connsiteY61" fmla="*/ 460595 h 730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005543" h="730570">
                  <a:moveTo>
                    <a:pt x="39869" y="460511"/>
                  </a:moveTo>
                  <a:cubicBezTo>
                    <a:pt x="45493" y="462274"/>
                    <a:pt x="51536" y="463533"/>
                    <a:pt x="57328" y="464793"/>
                  </a:cubicBezTo>
                  <a:cubicBezTo>
                    <a:pt x="66645" y="466723"/>
                    <a:pt x="76213" y="468738"/>
                    <a:pt x="85194" y="472936"/>
                  </a:cubicBezTo>
                  <a:cubicBezTo>
                    <a:pt x="89979" y="475202"/>
                    <a:pt x="95770" y="476797"/>
                    <a:pt x="101310" y="478392"/>
                  </a:cubicBezTo>
                  <a:cubicBezTo>
                    <a:pt x="111466" y="481330"/>
                    <a:pt x="121874" y="484352"/>
                    <a:pt x="128505" y="491236"/>
                  </a:cubicBezTo>
                  <a:cubicBezTo>
                    <a:pt x="131023" y="493839"/>
                    <a:pt x="132869" y="498036"/>
                    <a:pt x="134800" y="502401"/>
                  </a:cubicBezTo>
                  <a:cubicBezTo>
                    <a:pt x="136059" y="505339"/>
                    <a:pt x="137402" y="508278"/>
                    <a:pt x="138661" y="509957"/>
                  </a:cubicBezTo>
                  <a:cubicBezTo>
                    <a:pt x="140256" y="512139"/>
                    <a:pt x="142102" y="514154"/>
                    <a:pt x="144033" y="516169"/>
                  </a:cubicBezTo>
                  <a:cubicBezTo>
                    <a:pt x="146803" y="519107"/>
                    <a:pt x="149656" y="522213"/>
                    <a:pt x="151839" y="525823"/>
                  </a:cubicBezTo>
                  <a:cubicBezTo>
                    <a:pt x="161407" y="541941"/>
                    <a:pt x="157714" y="557975"/>
                    <a:pt x="154105" y="573421"/>
                  </a:cubicBezTo>
                  <a:cubicBezTo>
                    <a:pt x="151335" y="585342"/>
                    <a:pt x="148817" y="596674"/>
                    <a:pt x="151755" y="608091"/>
                  </a:cubicBezTo>
                  <a:cubicBezTo>
                    <a:pt x="153518" y="615059"/>
                    <a:pt x="168458" y="640831"/>
                    <a:pt x="174249" y="644525"/>
                  </a:cubicBezTo>
                  <a:cubicBezTo>
                    <a:pt x="180629" y="648554"/>
                    <a:pt x="199430" y="647043"/>
                    <a:pt x="210677" y="646120"/>
                  </a:cubicBezTo>
                  <a:cubicBezTo>
                    <a:pt x="213699" y="645868"/>
                    <a:pt x="216469" y="645616"/>
                    <a:pt x="218567" y="645532"/>
                  </a:cubicBezTo>
                  <a:cubicBezTo>
                    <a:pt x="228807" y="645028"/>
                    <a:pt x="239887" y="641251"/>
                    <a:pt x="251554" y="637221"/>
                  </a:cubicBezTo>
                  <a:cubicBezTo>
                    <a:pt x="273041" y="629834"/>
                    <a:pt x="295284" y="622278"/>
                    <a:pt x="314505" y="635039"/>
                  </a:cubicBezTo>
                  <a:cubicBezTo>
                    <a:pt x="320549" y="639068"/>
                    <a:pt x="324913" y="644189"/>
                    <a:pt x="329110" y="649226"/>
                  </a:cubicBezTo>
                  <a:cubicBezTo>
                    <a:pt x="333055" y="653927"/>
                    <a:pt x="336832" y="658376"/>
                    <a:pt x="341700" y="661566"/>
                  </a:cubicBezTo>
                  <a:cubicBezTo>
                    <a:pt x="355298" y="670380"/>
                    <a:pt x="367888" y="672143"/>
                    <a:pt x="383668" y="672143"/>
                  </a:cubicBezTo>
                  <a:cubicBezTo>
                    <a:pt x="383836" y="672143"/>
                    <a:pt x="384004" y="672143"/>
                    <a:pt x="384171" y="672143"/>
                  </a:cubicBezTo>
                  <a:cubicBezTo>
                    <a:pt x="400287" y="672143"/>
                    <a:pt x="415060" y="673570"/>
                    <a:pt x="429245" y="674998"/>
                  </a:cubicBezTo>
                  <a:cubicBezTo>
                    <a:pt x="443598" y="676425"/>
                    <a:pt x="457195" y="677768"/>
                    <a:pt x="472303" y="677768"/>
                  </a:cubicBezTo>
                  <a:cubicBezTo>
                    <a:pt x="483467" y="677768"/>
                    <a:pt x="492112" y="675417"/>
                    <a:pt x="501177" y="672899"/>
                  </a:cubicBezTo>
                  <a:cubicBezTo>
                    <a:pt x="505542" y="671724"/>
                    <a:pt x="510074" y="670464"/>
                    <a:pt x="515026" y="669373"/>
                  </a:cubicBezTo>
                  <a:cubicBezTo>
                    <a:pt x="524931" y="667274"/>
                    <a:pt x="536178" y="668030"/>
                    <a:pt x="547090" y="668702"/>
                  </a:cubicBezTo>
                  <a:cubicBezTo>
                    <a:pt x="552210" y="669037"/>
                    <a:pt x="557162" y="669373"/>
                    <a:pt x="561862" y="669373"/>
                  </a:cubicBezTo>
                  <a:cubicBezTo>
                    <a:pt x="588805" y="669373"/>
                    <a:pt x="610461" y="672143"/>
                    <a:pt x="636732" y="676677"/>
                  </a:cubicBezTo>
                  <a:cubicBezTo>
                    <a:pt x="642356" y="677684"/>
                    <a:pt x="647476" y="678356"/>
                    <a:pt x="652344" y="679027"/>
                  </a:cubicBezTo>
                  <a:cubicBezTo>
                    <a:pt x="665187" y="680790"/>
                    <a:pt x="676182" y="682301"/>
                    <a:pt x="690451" y="687842"/>
                  </a:cubicBezTo>
                  <a:cubicBezTo>
                    <a:pt x="708329" y="694809"/>
                    <a:pt x="729061" y="700350"/>
                    <a:pt x="747191" y="703036"/>
                  </a:cubicBezTo>
                  <a:cubicBezTo>
                    <a:pt x="765489" y="705722"/>
                    <a:pt x="783703" y="710088"/>
                    <a:pt x="801329" y="714285"/>
                  </a:cubicBezTo>
                  <a:cubicBezTo>
                    <a:pt x="823488" y="719574"/>
                    <a:pt x="846403" y="725030"/>
                    <a:pt x="869401" y="727129"/>
                  </a:cubicBezTo>
                  <a:cubicBezTo>
                    <a:pt x="871164" y="727297"/>
                    <a:pt x="872674" y="727381"/>
                    <a:pt x="874101" y="727465"/>
                  </a:cubicBezTo>
                  <a:cubicBezTo>
                    <a:pt x="879389" y="727885"/>
                    <a:pt x="883418" y="728220"/>
                    <a:pt x="887615" y="730571"/>
                  </a:cubicBezTo>
                  <a:lnTo>
                    <a:pt x="1005544" y="206150"/>
                  </a:lnTo>
                  <a:cubicBezTo>
                    <a:pt x="738294" y="148142"/>
                    <a:pt x="504702" y="80732"/>
                    <a:pt x="336748" y="3752"/>
                  </a:cubicBezTo>
                  <a:cubicBezTo>
                    <a:pt x="308462" y="-9260"/>
                    <a:pt x="296123" y="13826"/>
                    <a:pt x="308714" y="38423"/>
                  </a:cubicBezTo>
                  <a:cubicBezTo>
                    <a:pt x="315932" y="52610"/>
                    <a:pt x="321304" y="55044"/>
                    <a:pt x="321304" y="72086"/>
                  </a:cubicBezTo>
                  <a:cubicBezTo>
                    <a:pt x="321304" y="85517"/>
                    <a:pt x="322311" y="97857"/>
                    <a:pt x="313918" y="108015"/>
                  </a:cubicBezTo>
                  <a:cubicBezTo>
                    <a:pt x="302670" y="121615"/>
                    <a:pt x="290080" y="120607"/>
                    <a:pt x="291927" y="142098"/>
                  </a:cubicBezTo>
                  <a:cubicBezTo>
                    <a:pt x="293270" y="157964"/>
                    <a:pt x="299229" y="163924"/>
                    <a:pt x="310141" y="174082"/>
                  </a:cubicBezTo>
                  <a:cubicBezTo>
                    <a:pt x="337671" y="199602"/>
                    <a:pt x="322059" y="228060"/>
                    <a:pt x="300236" y="248376"/>
                  </a:cubicBezTo>
                  <a:cubicBezTo>
                    <a:pt x="276818" y="270118"/>
                    <a:pt x="305524" y="305292"/>
                    <a:pt x="286471" y="332323"/>
                  </a:cubicBezTo>
                  <a:cubicBezTo>
                    <a:pt x="265319" y="362377"/>
                    <a:pt x="219826" y="356752"/>
                    <a:pt x="202536" y="337612"/>
                  </a:cubicBezTo>
                  <a:cubicBezTo>
                    <a:pt x="178446" y="311001"/>
                    <a:pt x="225618" y="319983"/>
                    <a:pt x="247525" y="308902"/>
                  </a:cubicBezTo>
                  <a:cubicBezTo>
                    <a:pt x="273461" y="295806"/>
                    <a:pt x="282106" y="267516"/>
                    <a:pt x="282106" y="241408"/>
                  </a:cubicBezTo>
                  <a:cubicBezTo>
                    <a:pt x="282106" y="218154"/>
                    <a:pt x="282106" y="196496"/>
                    <a:pt x="273377" y="175509"/>
                  </a:cubicBezTo>
                  <a:cubicBezTo>
                    <a:pt x="267418" y="161238"/>
                    <a:pt x="258940" y="160063"/>
                    <a:pt x="247861" y="154186"/>
                  </a:cubicBezTo>
                  <a:cubicBezTo>
                    <a:pt x="239803" y="149905"/>
                    <a:pt x="234599" y="139663"/>
                    <a:pt x="226289" y="136389"/>
                  </a:cubicBezTo>
                  <a:cubicBezTo>
                    <a:pt x="220582" y="134123"/>
                    <a:pt x="211097" y="136054"/>
                    <a:pt x="204382" y="134039"/>
                  </a:cubicBezTo>
                  <a:cubicBezTo>
                    <a:pt x="188183" y="129086"/>
                    <a:pt x="174585" y="118257"/>
                    <a:pt x="158889" y="112213"/>
                  </a:cubicBezTo>
                  <a:cubicBezTo>
                    <a:pt x="126574" y="99704"/>
                    <a:pt x="107269" y="89799"/>
                    <a:pt x="87880" y="61844"/>
                  </a:cubicBezTo>
                  <a:cubicBezTo>
                    <a:pt x="67232" y="32043"/>
                    <a:pt x="39785" y="59242"/>
                    <a:pt x="31895" y="84930"/>
                  </a:cubicBezTo>
                  <a:cubicBezTo>
                    <a:pt x="27279" y="99872"/>
                    <a:pt x="27027" y="118257"/>
                    <a:pt x="24929" y="134291"/>
                  </a:cubicBezTo>
                  <a:cubicBezTo>
                    <a:pt x="22998" y="148814"/>
                    <a:pt x="17962" y="163001"/>
                    <a:pt x="20312" y="178363"/>
                  </a:cubicBezTo>
                  <a:cubicBezTo>
                    <a:pt x="25097" y="209424"/>
                    <a:pt x="40037" y="234608"/>
                    <a:pt x="41380" y="267768"/>
                  </a:cubicBezTo>
                  <a:cubicBezTo>
                    <a:pt x="42219" y="290182"/>
                    <a:pt x="37183" y="311924"/>
                    <a:pt x="33406" y="333918"/>
                  </a:cubicBezTo>
                  <a:cubicBezTo>
                    <a:pt x="29881" y="354234"/>
                    <a:pt x="34330" y="374045"/>
                    <a:pt x="31308" y="394361"/>
                  </a:cubicBezTo>
                  <a:cubicBezTo>
                    <a:pt x="29042" y="409555"/>
                    <a:pt x="21907" y="413333"/>
                    <a:pt x="11919" y="423239"/>
                  </a:cubicBezTo>
                  <a:cubicBezTo>
                    <a:pt x="4365" y="430710"/>
                    <a:pt x="1091" y="438853"/>
                    <a:pt x="0" y="447416"/>
                  </a:cubicBezTo>
                  <a:cubicBezTo>
                    <a:pt x="6967" y="449514"/>
                    <a:pt x="15528" y="452452"/>
                    <a:pt x="23418" y="455139"/>
                  </a:cubicBezTo>
                  <a:cubicBezTo>
                    <a:pt x="29713" y="457321"/>
                    <a:pt x="35672" y="459336"/>
                    <a:pt x="39869" y="46059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2E86A57C-A7D2-3D7E-4819-3E9872239604}"/>
                </a:ext>
              </a:extLst>
            </p:cNvPr>
            <p:cNvSpPr/>
            <p:nvPr/>
          </p:nvSpPr>
          <p:spPr>
            <a:xfrm>
              <a:off x="10980397" y="3550355"/>
              <a:ext cx="137413" cy="223229"/>
            </a:xfrm>
            <a:custGeom>
              <a:avLst/>
              <a:gdLst>
                <a:gd name="connsiteX0" fmla="*/ 55061 w 152132"/>
                <a:gd name="connsiteY0" fmla="*/ 62625 h 247141"/>
                <a:gd name="connsiteX1" fmla="*/ 44905 w 152132"/>
                <a:gd name="connsiteY1" fmla="*/ 50369 h 247141"/>
                <a:gd name="connsiteX2" fmla="*/ 43898 w 152132"/>
                <a:gd name="connsiteY2" fmla="*/ 49361 h 247141"/>
                <a:gd name="connsiteX3" fmla="*/ 29881 w 152132"/>
                <a:gd name="connsiteY3" fmla="*/ 27283 h 247141"/>
                <a:gd name="connsiteX4" fmla="*/ 29713 w 152132"/>
                <a:gd name="connsiteY4" fmla="*/ 18301 h 247141"/>
                <a:gd name="connsiteX5" fmla="*/ 29713 w 152132"/>
                <a:gd name="connsiteY5" fmla="*/ 11333 h 247141"/>
                <a:gd name="connsiteX6" fmla="*/ 27447 w 152132"/>
                <a:gd name="connsiteY6" fmla="*/ 5373 h 247141"/>
                <a:gd name="connsiteX7" fmla="*/ 25265 w 152132"/>
                <a:gd name="connsiteY7" fmla="*/ 0 h 247141"/>
                <a:gd name="connsiteX8" fmla="*/ 25265 w 152132"/>
                <a:gd name="connsiteY8" fmla="*/ 0 h 247141"/>
                <a:gd name="connsiteX9" fmla="*/ 9485 w 152132"/>
                <a:gd name="connsiteY9" fmla="*/ 13767 h 247141"/>
                <a:gd name="connsiteX10" fmla="*/ 0 w 152132"/>
                <a:gd name="connsiteY10" fmla="*/ 25604 h 247141"/>
                <a:gd name="connsiteX11" fmla="*/ 61441 w 152132"/>
                <a:gd name="connsiteY11" fmla="*/ 242945 h 247141"/>
                <a:gd name="connsiteX12" fmla="*/ 98876 w 152132"/>
                <a:gd name="connsiteY12" fmla="*/ 242945 h 247141"/>
                <a:gd name="connsiteX13" fmla="*/ 98876 w 152132"/>
                <a:gd name="connsiteY13" fmla="*/ 247142 h 247141"/>
                <a:gd name="connsiteX14" fmla="*/ 151419 w 152132"/>
                <a:gd name="connsiteY14" fmla="*/ 205168 h 247141"/>
                <a:gd name="connsiteX15" fmla="*/ 89223 w 152132"/>
                <a:gd name="connsiteY15" fmla="*/ 98219 h 247141"/>
                <a:gd name="connsiteX16" fmla="*/ 85362 w 152132"/>
                <a:gd name="connsiteY16" fmla="*/ 89824 h 247141"/>
                <a:gd name="connsiteX17" fmla="*/ 55230 w 152132"/>
                <a:gd name="connsiteY17" fmla="*/ 62709 h 247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2132" h="247141">
                  <a:moveTo>
                    <a:pt x="55061" y="62625"/>
                  </a:moveTo>
                  <a:cubicBezTo>
                    <a:pt x="51536" y="58092"/>
                    <a:pt x="48179" y="53810"/>
                    <a:pt x="44905" y="50369"/>
                  </a:cubicBezTo>
                  <a:lnTo>
                    <a:pt x="43898" y="49361"/>
                  </a:lnTo>
                  <a:cubicBezTo>
                    <a:pt x="37939" y="43233"/>
                    <a:pt x="31728" y="36853"/>
                    <a:pt x="29881" y="27283"/>
                  </a:cubicBezTo>
                  <a:cubicBezTo>
                    <a:pt x="29293" y="24177"/>
                    <a:pt x="29545" y="21155"/>
                    <a:pt x="29713" y="18301"/>
                  </a:cubicBezTo>
                  <a:cubicBezTo>
                    <a:pt x="29881" y="15782"/>
                    <a:pt x="30049" y="13432"/>
                    <a:pt x="29713" y="11333"/>
                  </a:cubicBezTo>
                  <a:cubicBezTo>
                    <a:pt x="29293" y="9402"/>
                    <a:pt x="28370" y="7387"/>
                    <a:pt x="27447" y="5373"/>
                  </a:cubicBezTo>
                  <a:cubicBezTo>
                    <a:pt x="26691" y="3694"/>
                    <a:pt x="25852" y="1931"/>
                    <a:pt x="25265" y="0"/>
                  </a:cubicBezTo>
                  <a:lnTo>
                    <a:pt x="25265" y="0"/>
                  </a:lnTo>
                  <a:cubicBezTo>
                    <a:pt x="18969" y="0"/>
                    <a:pt x="14941" y="5373"/>
                    <a:pt x="9485" y="13767"/>
                  </a:cubicBezTo>
                  <a:cubicBezTo>
                    <a:pt x="6631" y="18133"/>
                    <a:pt x="3693" y="22498"/>
                    <a:pt x="0" y="25604"/>
                  </a:cubicBezTo>
                  <a:lnTo>
                    <a:pt x="61441" y="242945"/>
                  </a:lnTo>
                  <a:lnTo>
                    <a:pt x="98876" y="242945"/>
                  </a:lnTo>
                  <a:lnTo>
                    <a:pt x="98876" y="247142"/>
                  </a:lnTo>
                  <a:cubicBezTo>
                    <a:pt x="110375" y="226491"/>
                    <a:pt x="145124" y="230184"/>
                    <a:pt x="151419" y="205168"/>
                  </a:cubicBezTo>
                  <a:cubicBezTo>
                    <a:pt x="161491" y="164705"/>
                    <a:pt x="61105" y="127684"/>
                    <a:pt x="89223" y="98219"/>
                  </a:cubicBezTo>
                  <a:cubicBezTo>
                    <a:pt x="87880" y="95448"/>
                    <a:pt x="86369" y="92174"/>
                    <a:pt x="85362" y="89824"/>
                  </a:cubicBezTo>
                  <a:cubicBezTo>
                    <a:pt x="72856" y="85459"/>
                    <a:pt x="63455" y="73370"/>
                    <a:pt x="55230" y="6270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ED672DF-A649-C77B-D09B-CD7804A26016}"/>
                </a:ext>
              </a:extLst>
            </p:cNvPr>
            <p:cNvSpPr/>
            <p:nvPr/>
          </p:nvSpPr>
          <p:spPr>
            <a:xfrm>
              <a:off x="10133503" y="4474295"/>
              <a:ext cx="699208" cy="557310"/>
            </a:xfrm>
            <a:custGeom>
              <a:avLst/>
              <a:gdLst>
                <a:gd name="connsiteX0" fmla="*/ 716190 w 774105"/>
                <a:gd name="connsiteY0" fmla="*/ 156638 h 617007"/>
                <a:gd name="connsiteX1" fmla="*/ 688743 w 774105"/>
                <a:gd name="connsiteY1" fmla="*/ 135735 h 617007"/>
                <a:gd name="connsiteX2" fmla="*/ 658611 w 774105"/>
                <a:gd name="connsiteY2" fmla="*/ 106605 h 617007"/>
                <a:gd name="connsiteX3" fmla="*/ 609676 w 774105"/>
                <a:gd name="connsiteY3" fmla="*/ 63960 h 617007"/>
                <a:gd name="connsiteX4" fmla="*/ 510969 w 774105"/>
                <a:gd name="connsiteY4" fmla="*/ 26687 h 617007"/>
                <a:gd name="connsiteX5" fmla="*/ 453893 w 774105"/>
                <a:gd name="connsiteY5" fmla="*/ 35922 h 617007"/>
                <a:gd name="connsiteX6" fmla="*/ 397740 w 774105"/>
                <a:gd name="connsiteY6" fmla="*/ 45576 h 617007"/>
                <a:gd name="connsiteX7" fmla="*/ 367691 w 774105"/>
                <a:gd name="connsiteY7" fmla="*/ 28786 h 617007"/>
                <a:gd name="connsiteX8" fmla="*/ 356948 w 774105"/>
                <a:gd name="connsiteY8" fmla="*/ 13508 h 617007"/>
                <a:gd name="connsiteX9" fmla="*/ 306671 w 774105"/>
                <a:gd name="connsiteY9" fmla="*/ 2930 h 617007"/>
                <a:gd name="connsiteX10" fmla="*/ 295003 w 774105"/>
                <a:gd name="connsiteY10" fmla="*/ 1923 h 617007"/>
                <a:gd name="connsiteX11" fmla="*/ 171703 w 774105"/>
                <a:gd name="connsiteY11" fmla="*/ 7631 h 617007"/>
                <a:gd name="connsiteX12" fmla="*/ 89530 w 774105"/>
                <a:gd name="connsiteY12" fmla="*/ 35334 h 617007"/>
                <a:gd name="connsiteX13" fmla="*/ 65692 w 774105"/>
                <a:gd name="connsiteY13" fmla="*/ 45660 h 617007"/>
                <a:gd name="connsiteX14" fmla="*/ 979 w 774105"/>
                <a:gd name="connsiteY14" fmla="*/ 113993 h 617007"/>
                <a:gd name="connsiteX15" fmla="*/ 4923 w 774105"/>
                <a:gd name="connsiteY15" fmla="*/ 135232 h 617007"/>
                <a:gd name="connsiteX16" fmla="*/ 39757 w 774105"/>
                <a:gd name="connsiteY16" fmla="*/ 151518 h 617007"/>
                <a:gd name="connsiteX17" fmla="*/ 51256 w 774105"/>
                <a:gd name="connsiteY17" fmla="*/ 154875 h 617007"/>
                <a:gd name="connsiteX18" fmla="*/ 84242 w 774105"/>
                <a:gd name="connsiteY18" fmla="*/ 184005 h 617007"/>
                <a:gd name="connsiteX19" fmla="*/ 96917 w 774105"/>
                <a:gd name="connsiteY19" fmla="*/ 201634 h 617007"/>
                <a:gd name="connsiteX20" fmla="*/ 126210 w 774105"/>
                <a:gd name="connsiteY20" fmla="*/ 223293 h 617007"/>
                <a:gd name="connsiteX21" fmla="*/ 155419 w 774105"/>
                <a:gd name="connsiteY21" fmla="*/ 244615 h 617007"/>
                <a:gd name="connsiteX22" fmla="*/ 168177 w 774105"/>
                <a:gd name="connsiteY22" fmla="*/ 258887 h 617007"/>
                <a:gd name="connsiteX23" fmla="*/ 198646 w 774105"/>
                <a:gd name="connsiteY23" fmla="*/ 288772 h 617007"/>
                <a:gd name="connsiteX24" fmla="*/ 212999 w 774105"/>
                <a:gd name="connsiteY24" fmla="*/ 298342 h 617007"/>
                <a:gd name="connsiteX25" fmla="*/ 246405 w 774105"/>
                <a:gd name="connsiteY25" fmla="*/ 331249 h 617007"/>
                <a:gd name="connsiteX26" fmla="*/ 253204 w 774105"/>
                <a:gd name="connsiteY26" fmla="*/ 348627 h 617007"/>
                <a:gd name="connsiteX27" fmla="*/ 278384 w 774105"/>
                <a:gd name="connsiteY27" fmla="*/ 381534 h 617007"/>
                <a:gd name="connsiteX28" fmla="*/ 282497 w 774105"/>
                <a:gd name="connsiteY28" fmla="*/ 383045 h 617007"/>
                <a:gd name="connsiteX29" fmla="*/ 328326 w 774105"/>
                <a:gd name="connsiteY29" fmla="*/ 420822 h 617007"/>
                <a:gd name="connsiteX30" fmla="*/ 333865 w 774105"/>
                <a:gd name="connsiteY30" fmla="*/ 431735 h 617007"/>
                <a:gd name="connsiteX31" fmla="*/ 356192 w 774105"/>
                <a:gd name="connsiteY31" fmla="*/ 469259 h 617007"/>
                <a:gd name="connsiteX32" fmla="*/ 373483 w 774105"/>
                <a:gd name="connsiteY32" fmla="*/ 488064 h 617007"/>
                <a:gd name="connsiteX33" fmla="*/ 410163 w 774105"/>
                <a:gd name="connsiteY33" fmla="*/ 536334 h 617007"/>
                <a:gd name="connsiteX34" fmla="*/ 440211 w 774105"/>
                <a:gd name="connsiteY34" fmla="*/ 617007 h 617007"/>
                <a:gd name="connsiteX35" fmla="*/ 483102 w 774105"/>
                <a:gd name="connsiteY35" fmla="*/ 531632 h 617007"/>
                <a:gd name="connsiteX36" fmla="*/ 588021 w 774105"/>
                <a:gd name="connsiteY36" fmla="*/ 406466 h 617007"/>
                <a:gd name="connsiteX37" fmla="*/ 652316 w 774105"/>
                <a:gd name="connsiteY37" fmla="*/ 338553 h 617007"/>
                <a:gd name="connsiteX38" fmla="*/ 717365 w 774105"/>
                <a:gd name="connsiteY38" fmla="*/ 255445 h 617007"/>
                <a:gd name="connsiteX39" fmla="*/ 774106 w 774105"/>
                <a:gd name="connsiteY39" fmla="*/ 210029 h 617007"/>
                <a:gd name="connsiteX40" fmla="*/ 716190 w 774105"/>
                <a:gd name="connsiteY40" fmla="*/ 156722 h 617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74105" h="617007">
                  <a:moveTo>
                    <a:pt x="716190" y="156638"/>
                  </a:moveTo>
                  <a:cubicBezTo>
                    <a:pt x="706370" y="149587"/>
                    <a:pt x="697137" y="142871"/>
                    <a:pt x="688743" y="135735"/>
                  </a:cubicBezTo>
                  <a:cubicBezTo>
                    <a:pt x="678251" y="126837"/>
                    <a:pt x="668264" y="116511"/>
                    <a:pt x="658611" y="106605"/>
                  </a:cubicBezTo>
                  <a:cubicBezTo>
                    <a:pt x="643419" y="90907"/>
                    <a:pt x="627723" y="74621"/>
                    <a:pt x="609676" y="63960"/>
                  </a:cubicBezTo>
                  <a:cubicBezTo>
                    <a:pt x="576858" y="44652"/>
                    <a:pt x="546809" y="28450"/>
                    <a:pt x="510969" y="26687"/>
                  </a:cubicBezTo>
                  <a:cubicBezTo>
                    <a:pt x="491160" y="25764"/>
                    <a:pt x="473030" y="30717"/>
                    <a:pt x="453893" y="35922"/>
                  </a:cubicBezTo>
                  <a:cubicBezTo>
                    <a:pt x="436014" y="40791"/>
                    <a:pt x="417717" y="45911"/>
                    <a:pt x="397740" y="45576"/>
                  </a:cubicBezTo>
                  <a:cubicBezTo>
                    <a:pt x="376840" y="45240"/>
                    <a:pt x="372475" y="39028"/>
                    <a:pt x="367691" y="28786"/>
                  </a:cubicBezTo>
                  <a:cubicBezTo>
                    <a:pt x="365509" y="24169"/>
                    <a:pt x="363075" y="18964"/>
                    <a:pt x="356948" y="13508"/>
                  </a:cubicBezTo>
                  <a:cubicBezTo>
                    <a:pt x="348470" y="6036"/>
                    <a:pt x="323290" y="4189"/>
                    <a:pt x="306671" y="2930"/>
                  </a:cubicBezTo>
                  <a:cubicBezTo>
                    <a:pt x="302138" y="2594"/>
                    <a:pt x="298109" y="2259"/>
                    <a:pt x="295003" y="1923"/>
                  </a:cubicBezTo>
                  <a:cubicBezTo>
                    <a:pt x="252868" y="-2778"/>
                    <a:pt x="212663" y="1923"/>
                    <a:pt x="171703" y="7631"/>
                  </a:cubicBezTo>
                  <a:cubicBezTo>
                    <a:pt x="142997" y="11577"/>
                    <a:pt x="115802" y="23665"/>
                    <a:pt x="89530" y="35334"/>
                  </a:cubicBezTo>
                  <a:cubicBezTo>
                    <a:pt x="81472" y="38860"/>
                    <a:pt x="73582" y="42386"/>
                    <a:pt x="65692" y="45660"/>
                  </a:cubicBezTo>
                  <a:cubicBezTo>
                    <a:pt x="44625" y="54306"/>
                    <a:pt x="7357" y="87633"/>
                    <a:pt x="979" y="113993"/>
                  </a:cubicBezTo>
                  <a:cubicBezTo>
                    <a:pt x="-1120" y="122639"/>
                    <a:pt x="139" y="129607"/>
                    <a:pt x="4923" y="135232"/>
                  </a:cubicBezTo>
                  <a:cubicBezTo>
                    <a:pt x="12394" y="144046"/>
                    <a:pt x="26914" y="147992"/>
                    <a:pt x="39757" y="151518"/>
                  </a:cubicBezTo>
                  <a:cubicBezTo>
                    <a:pt x="43869" y="152609"/>
                    <a:pt x="47814" y="153700"/>
                    <a:pt x="51256" y="154875"/>
                  </a:cubicBezTo>
                  <a:cubicBezTo>
                    <a:pt x="69889" y="161088"/>
                    <a:pt x="76856" y="172169"/>
                    <a:pt x="84242" y="184005"/>
                  </a:cubicBezTo>
                  <a:cubicBezTo>
                    <a:pt x="87851" y="189714"/>
                    <a:pt x="91545" y="195674"/>
                    <a:pt x="96917" y="201634"/>
                  </a:cubicBezTo>
                  <a:cubicBezTo>
                    <a:pt x="104974" y="210617"/>
                    <a:pt x="115802" y="217081"/>
                    <a:pt x="126210" y="223293"/>
                  </a:cubicBezTo>
                  <a:cubicBezTo>
                    <a:pt x="136450" y="229421"/>
                    <a:pt x="147026" y="235717"/>
                    <a:pt x="155419" y="244615"/>
                  </a:cubicBezTo>
                  <a:cubicBezTo>
                    <a:pt x="159951" y="249485"/>
                    <a:pt x="164148" y="254186"/>
                    <a:pt x="168177" y="258887"/>
                  </a:cubicBezTo>
                  <a:cubicBezTo>
                    <a:pt x="177494" y="269548"/>
                    <a:pt x="186307" y="279622"/>
                    <a:pt x="198646" y="288772"/>
                  </a:cubicBezTo>
                  <a:cubicBezTo>
                    <a:pt x="203514" y="292382"/>
                    <a:pt x="208382" y="295404"/>
                    <a:pt x="212999" y="298342"/>
                  </a:cubicBezTo>
                  <a:cubicBezTo>
                    <a:pt x="225925" y="306485"/>
                    <a:pt x="238096" y="314124"/>
                    <a:pt x="246405" y="331249"/>
                  </a:cubicBezTo>
                  <a:cubicBezTo>
                    <a:pt x="249259" y="337126"/>
                    <a:pt x="251273" y="342918"/>
                    <a:pt x="253204" y="348627"/>
                  </a:cubicBezTo>
                  <a:cubicBezTo>
                    <a:pt x="258240" y="363149"/>
                    <a:pt x="262605" y="375658"/>
                    <a:pt x="278384" y="381534"/>
                  </a:cubicBezTo>
                  <a:lnTo>
                    <a:pt x="282497" y="383045"/>
                  </a:lnTo>
                  <a:cubicBezTo>
                    <a:pt x="306167" y="391776"/>
                    <a:pt x="314980" y="395134"/>
                    <a:pt x="328326" y="420822"/>
                  </a:cubicBezTo>
                  <a:cubicBezTo>
                    <a:pt x="330172" y="424347"/>
                    <a:pt x="332019" y="428041"/>
                    <a:pt x="333865" y="431735"/>
                  </a:cubicBezTo>
                  <a:cubicBezTo>
                    <a:pt x="340496" y="444998"/>
                    <a:pt x="347295" y="458766"/>
                    <a:pt x="356192" y="469259"/>
                  </a:cubicBezTo>
                  <a:cubicBezTo>
                    <a:pt x="361984" y="476059"/>
                    <a:pt x="367859" y="482103"/>
                    <a:pt x="373483" y="488064"/>
                  </a:cubicBezTo>
                  <a:cubicBezTo>
                    <a:pt x="386997" y="502083"/>
                    <a:pt x="399838" y="515347"/>
                    <a:pt x="410163" y="536334"/>
                  </a:cubicBezTo>
                  <a:cubicBezTo>
                    <a:pt x="419983" y="556229"/>
                    <a:pt x="432993" y="590732"/>
                    <a:pt x="440211" y="617007"/>
                  </a:cubicBezTo>
                  <a:cubicBezTo>
                    <a:pt x="453977" y="588465"/>
                    <a:pt x="474960" y="563533"/>
                    <a:pt x="483102" y="531632"/>
                  </a:cubicBezTo>
                  <a:cubicBezTo>
                    <a:pt x="497371" y="475975"/>
                    <a:pt x="546977" y="443320"/>
                    <a:pt x="588021" y="406466"/>
                  </a:cubicBezTo>
                  <a:cubicBezTo>
                    <a:pt x="611020" y="385731"/>
                    <a:pt x="633430" y="362814"/>
                    <a:pt x="652316" y="338553"/>
                  </a:cubicBezTo>
                  <a:cubicBezTo>
                    <a:pt x="675649" y="308500"/>
                    <a:pt x="683791" y="277859"/>
                    <a:pt x="717365" y="255445"/>
                  </a:cubicBezTo>
                  <a:cubicBezTo>
                    <a:pt x="739021" y="241006"/>
                    <a:pt x="757403" y="228665"/>
                    <a:pt x="774106" y="210029"/>
                  </a:cubicBezTo>
                  <a:cubicBezTo>
                    <a:pt x="760172" y="188622"/>
                    <a:pt x="737846" y="172420"/>
                    <a:pt x="716190" y="15672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80B8CB8-39FB-6A20-DA1F-963FC5E2BC88}"/>
                </a:ext>
              </a:extLst>
            </p:cNvPr>
            <p:cNvSpPr/>
            <p:nvPr/>
          </p:nvSpPr>
          <p:spPr>
            <a:xfrm>
              <a:off x="9817711" y="4559365"/>
              <a:ext cx="708332" cy="739328"/>
            </a:xfrm>
            <a:custGeom>
              <a:avLst/>
              <a:gdLst>
                <a:gd name="connsiteX0" fmla="*/ 717142 w 784206"/>
                <a:gd name="connsiteY0" fmla="*/ 399759 h 818522"/>
                <a:gd name="connsiteX1" fmla="*/ 699432 w 784206"/>
                <a:gd name="connsiteY1" fmla="*/ 380619 h 818522"/>
                <a:gd name="connsiteX2" fmla="*/ 675930 w 784206"/>
                <a:gd name="connsiteY2" fmla="*/ 341415 h 818522"/>
                <a:gd name="connsiteX3" fmla="*/ 670474 w 784206"/>
                <a:gd name="connsiteY3" fmla="*/ 330670 h 818522"/>
                <a:gd name="connsiteX4" fmla="*/ 629178 w 784206"/>
                <a:gd name="connsiteY4" fmla="*/ 296923 h 818522"/>
                <a:gd name="connsiteX5" fmla="*/ 624981 w 784206"/>
                <a:gd name="connsiteY5" fmla="*/ 295412 h 818522"/>
                <a:gd name="connsiteX6" fmla="*/ 594765 w 784206"/>
                <a:gd name="connsiteY6" fmla="*/ 257384 h 818522"/>
                <a:gd name="connsiteX7" fmla="*/ 588302 w 784206"/>
                <a:gd name="connsiteY7" fmla="*/ 240930 h 818522"/>
                <a:gd name="connsiteX8" fmla="*/ 558001 w 784206"/>
                <a:gd name="connsiteY8" fmla="*/ 211464 h 818522"/>
                <a:gd name="connsiteX9" fmla="*/ 543144 w 784206"/>
                <a:gd name="connsiteY9" fmla="*/ 201558 h 818522"/>
                <a:gd name="connsiteX10" fmla="*/ 511333 w 784206"/>
                <a:gd name="connsiteY10" fmla="*/ 170414 h 818522"/>
                <a:gd name="connsiteX11" fmla="*/ 498743 w 784206"/>
                <a:gd name="connsiteY11" fmla="*/ 156395 h 818522"/>
                <a:gd name="connsiteX12" fmla="*/ 471296 w 784206"/>
                <a:gd name="connsiteY12" fmla="*/ 136499 h 818522"/>
                <a:gd name="connsiteX13" fmla="*/ 440072 w 784206"/>
                <a:gd name="connsiteY13" fmla="*/ 113161 h 818522"/>
                <a:gd name="connsiteX14" fmla="*/ 426559 w 784206"/>
                <a:gd name="connsiteY14" fmla="*/ 94441 h 818522"/>
                <a:gd name="connsiteX15" fmla="*/ 398021 w 784206"/>
                <a:gd name="connsiteY15" fmla="*/ 68837 h 818522"/>
                <a:gd name="connsiteX16" fmla="*/ 386941 w 784206"/>
                <a:gd name="connsiteY16" fmla="*/ 65647 h 818522"/>
                <a:gd name="connsiteX17" fmla="*/ 347912 w 784206"/>
                <a:gd name="connsiteY17" fmla="*/ 46675 h 818522"/>
                <a:gd name="connsiteX18" fmla="*/ 342204 w 784206"/>
                <a:gd name="connsiteY18" fmla="*/ 18049 h 818522"/>
                <a:gd name="connsiteX19" fmla="*/ 350010 w 784206"/>
                <a:gd name="connsiteY19" fmla="*/ 0 h 818522"/>
                <a:gd name="connsiteX20" fmla="*/ 0 w 784206"/>
                <a:gd name="connsiteY20" fmla="*/ 25856 h 818522"/>
                <a:gd name="connsiteX21" fmla="*/ 4113 w 784206"/>
                <a:gd name="connsiteY21" fmla="*/ 40043 h 818522"/>
                <a:gd name="connsiteX22" fmla="*/ 10576 w 784206"/>
                <a:gd name="connsiteY22" fmla="*/ 64052 h 818522"/>
                <a:gd name="connsiteX23" fmla="*/ 13010 w 784206"/>
                <a:gd name="connsiteY23" fmla="*/ 77316 h 818522"/>
                <a:gd name="connsiteX24" fmla="*/ 24341 w 784206"/>
                <a:gd name="connsiteY24" fmla="*/ 119122 h 818522"/>
                <a:gd name="connsiteX25" fmla="*/ 39785 w 784206"/>
                <a:gd name="connsiteY25" fmla="*/ 166636 h 818522"/>
                <a:gd name="connsiteX26" fmla="*/ 52291 w 784206"/>
                <a:gd name="connsiteY26" fmla="*/ 207435 h 818522"/>
                <a:gd name="connsiteX27" fmla="*/ 60853 w 784206"/>
                <a:gd name="connsiteY27" fmla="*/ 237992 h 818522"/>
                <a:gd name="connsiteX28" fmla="*/ 63791 w 784206"/>
                <a:gd name="connsiteY28" fmla="*/ 251423 h 818522"/>
                <a:gd name="connsiteX29" fmla="*/ 72604 w 784206"/>
                <a:gd name="connsiteY29" fmla="*/ 277783 h 818522"/>
                <a:gd name="connsiteX30" fmla="*/ 77640 w 784206"/>
                <a:gd name="connsiteY30" fmla="*/ 291466 h 818522"/>
                <a:gd name="connsiteX31" fmla="*/ 89978 w 784206"/>
                <a:gd name="connsiteY31" fmla="*/ 318246 h 818522"/>
                <a:gd name="connsiteX32" fmla="*/ 105171 w 784206"/>
                <a:gd name="connsiteY32" fmla="*/ 355014 h 818522"/>
                <a:gd name="connsiteX33" fmla="*/ 114320 w 784206"/>
                <a:gd name="connsiteY33" fmla="*/ 395813 h 818522"/>
                <a:gd name="connsiteX34" fmla="*/ 115243 w 784206"/>
                <a:gd name="connsiteY34" fmla="*/ 399675 h 818522"/>
                <a:gd name="connsiteX35" fmla="*/ 145711 w 784206"/>
                <a:gd name="connsiteY35" fmla="*/ 480516 h 818522"/>
                <a:gd name="connsiteX36" fmla="*/ 146635 w 784206"/>
                <a:gd name="connsiteY36" fmla="*/ 481944 h 818522"/>
                <a:gd name="connsiteX37" fmla="*/ 163254 w 784206"/>
                <a:gd name="connsiteY37" fmla="*/ 522574 h 818522"/>
                <a:gd name="connsiteX38" fmla="*/ 151923 w 784206"/>
                <a:gd name="connsiteY38" fmla="*/ 543897 h 818522"/>
                <a:gd name="connsiteX39" fmla="*/ 142018 w 784206"/>
                <a:gd name="connsiteY39" fmla="*/ 558504 h 818522"/>
                <a:gd name="connsiteX40" fmla="*/ 138074 w 784206"/>
                <a:gd name="connsiteY40" fmla="*/ 600729 h 818522"/>
                <a:gd name="connsiteX41" fmla="*/ 146131 w 784206"/>
                <a:gd name="connsiteY41" fmla="*/ 624486 h 818522"/>
                <a:gd name="connsiteX42" fmla="*/ 154440 w 784206"/>
                <a:gd name="connsiteY42" fmla="*/ 642535 h 818522"/>
                <a:gd name="connsiteX43" fmla="*/ 159057 w 784206"/>
                <a:gd name="connsiteY43" fmla="*/ 695338 h 818522"/>
                <a:gd name="connsiteX44" fmla="*/ 160400 w 784206"/>
                <a:gd name="connsiteY44" fmla="*/ 731352 h 818522"/>
                <a:gd name="connsiteX45" fmla="*/ 184657 w 784206"/>
                <a:gd name="connsiteY45" fmla="*/ 778195 h 818522"/>
                <a:gd name="connsiteX46" fmla="*/ 188770 w 784206"/>
                <a:gd name="connsiteY46" fmla="*/ 783651 h 818522"/>
                <a:gd name="connsiteX47" fmla="*/ 205641 w 784206"/>
                <a:gd name="connsiteY47" fmla="*/ 810850 h 818522"/>
                <a:gd name="connsiteX48" fmla="*/ 221925 w 784206"/>
                <a:gd name="connsiteY48" fmla="*/ 815551 h 818522"/>
                <a:gd name="connsiteX49" fmla="*/ 235019 w 784206"/>
                <a:gd name="connsiteY49" fmla="*/ 813956 h 818522"/>
                <a:gd name="connsiteX50" fmla="*/ 240054 w 784206"/>
                <a:gd name="connsiteY50" fmla="*/ 813705 h 818522"/>
                <a:gd name="connsiteX51" fmla="*/ 282945 w 784206"/>
                <a:gd name="connsiteY51" fmla="*/ 809927 h 818522"/>
                <a:gd name="connsiteX52" fmla="*/ 412206 w 784206"/>
                <a:gd name="connsiteY52" fmla="*/ 799182 h 818522"/>
                <a:gd name="connsiteX53" fmla="*/ 544488 w 784206"/>
                <a:gd name="connsiteY53" fmla="*/ 788352 h 818522"/>
                <a:gd name="connsiteX54" fmla="*/ 596108 w 784206"/>
                <a:gd name="connsiteY54" fmla="*/ 784155 h 818522"/>
                <a:gd name="connsiteX55" fmla="*/ 605844 w 784206"/>
                <a:gd name="connsiteY55" fmla="*/ 783316 h 818522"/>
                <a:gd name="connsiteX56" fmla="*/ 633459 w 784206"/>
                <a:gd name="connsiteY56" fmla="*/ 799014 h 818522"/>
                <a:gd name="connsiteX57" fmla="*/ 636229 w 784206"/>
                <a:gd name="connsiteY57" fmla="*/ 803211 h 818522"/>
                <a:gd name="connsiteX58" fmla="*/ 638243 w 784206"/>
                <a:gd name="connsiteY58" fmla="*/ 805981 h 818522"/>
                <a:gd name="connsiteX59" fmla="*/ 656625 w 784206"/>
                <a:gd name="connsiteY59" fmla="*/ 817734 h 818522"/>
                <a:gd name="connsiteX60" fmla="*/ 658388 w 784206"/>
                <a:gd name="connsiteY60" fmla="*/ 812613 h 818522"/>
                <a:gd name="connsiteX61" fmla="*/ 658555 w 784206"/>
                <a:gd name="connsiteY61" fmla="*/ 808919 h 818522"/>
                <a:gd name="connsiteX62" fmla="*/ 659563 w 784206"/>
                <a:gd name="connsiteY62" fmla="*/ 803127 h 818522"/>
                <a:gd name="connsiteX63" fmla="*/ 660570 w 784206"/>
                <a:gd name="connsiteY63" fmla="*/ 795824 h 818522"/>
                <a:gd name="connsiteX64" fmla="*/ 656205 w 784206"/>
                <a:gd name="connsiteY64" fmla="*/ 783903 h 818522"/>
                <a:gd name="connsiteX65" fmla="*/ 645378 w 784206"/>
                <a:gd name="connsiteY65" fmla="*/ 764595 h 818522"/>
                <a:gd name="connsiteX66" fmla="*/ 644454 w 784206"/>
                <a:gd name="connsiteY66" fmla="*/ 746798 h 818522"/>
                <a:gd name="connsiteX67" fmla="*/ 653687 w 784206"/>
                <a:gd name="connsiteY67" fmla="*/ 736641 h 818522"/>
                <a:gd name="connsiteX68" fmla="*/ 657213 w 784206"/>
                <a:gd name="connsiteY68" fmla="*/ 734122 h 818522"/>
                <a:gd name="connsiteX69" fmla="*/ 692885 w 784206"/>
                <a:gd name="connsiteY69" fmla="*/ 728833 h 818522"/>
                <a:gd name="connsiteX70" fmla="*/ 730236 w 784206"/>
                <a:gd name="connsiteY70" fmla="*/ 733367 h 818522"/>
                <a:gd name="connsiteX71" fmla="*/ 757179 w 784206"/>
                <a:gd name="connsiteY71" fmla="*/ 731352 h 818522"/>
                <a:gd name="connsiteX72" fmla="*/ 757599 w 784206"/>
                <a:gd name="connsiteY72" fmla="*/ 675611 h 818522"/>
                <a:gd name="connsiteX73" fmla="*/ 770190 w 784206"/>
                <a:gd name="connsiteY73" fmla="*/ 613238 h 818522"/>
                <a:gd name="connsiteX74" fmla="*/ 782276 w 784206"/>
                <a:gd name="connsiteY74" fmla="*/ 540875 h 818522"/>
                <a:gd name="connsiteX75" fmla="*/ 784207 w 784206"/>
                <a:gd name="connsiteY75" fmla="*/ 535922 h 818522"/>
                <a:gd name="connsiteX76" fmla="*/ 752143 w 784206"/>
                <a:gd name="connsiteY76" fmla="*/ 446182 h 818522"/>
                <a:gd name="connsiteX77" fmla="*/ 716974 w 784206"/>
                <a:gd name="connsiteY77" fmla="*/ 400011 h 818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84206" h="818522">
                  <a:moveTo>
                    <a:pt x="717142" y="399759"/>
                  </a:moveTo>
                  <a:cubicBezTo>
                    <a:pt x="711351" y="393798"/>
                    <a:pt x="705391" y="387586"/>
                    <a:pt x="699432" y="380619"/>
                  </a:cubicBezTo>
                  <a:cubicBezTo>
                    <a:pt x="689864" y="369370"/>
                    <a:pt x="682813" y="355183"/>
                    <a:pt x="675930" y="341415"/>
                  </a:cubicBezTo>
                  <a:cubicBezTo>
                    <a:pt x="674084" y="337721"/>
                    <a:pt x="672321" y="334112"/>
                    <a:pt x="670474" y="330670"/>
                  </a:cubicBezTo>
                  <a:cubicBezTo>
                    <a:pt x="658639" y="307836"/>
                    <a:pt x="652344" y="305485"/>
                    <a:pt x="629178" y="296923"/>
                  </a:cubicBezTo>
                  <a:lnTo>
                    <a:pt x="624981" y="295412"/>
                  </a:lnTo>
                  <a:cubicBezTo>
                    <a:pt x="605425" y="288108"/>
                    <a:pt x="600053" y="272494"/>
                    <a:pt x="594765" y="257384"/>
                  </a:cubicBezTo>
                  <a:cubicBezTo>
                    <a:pt x="592834" y="251927"/>
                    <a:pt x="590904" y="246302"/>
                    <a:pt x="588302" y="240930"/>
                  </a:cubicBezTo>
                  <a:cubicBezTo>
                    <a:pt x="581083" y="225987"/>
                    <a:pt x="570340" y="219271"/>
                    <a:pt x="558001" y="211464"/>
                  </a:cubicBezTo>
                  <a:cubicBezTo>
                    <a:pt x="553217" y="208442"/>
                    <a:pt x="548265" y="205336"/>
                    <a:pt x="543144" y="201558"/>
                  </a:cubicBezTo>
                  <a:cubicBezTo>
                    <a:pt x="530051" y="191904"/>
                    <a:pt x="520986" y="181495"/>
                    <a:pt x="511333" y="170414"/>
                  </a:cubicBezTo>
                  <a:cubicBezTo>
                    <a:pt x="507304" y="165797"/>
                    <a:pt x="503275" y="161179"/>
                    <a:pt x="498743" y="156395"/>
                  </a:cubicBezTo>
                  <a:cubicBezTo>
                    <a:pt x="491189" y="148335"/>
                    <a:pt x="481536" y="142543"/>
                    <a:pt x="471296" y="136499"/>
                  </a:cubicBezTo>
                  <a:cubicBezTo>
                    <a:pt x="460300" y="129951"/>
                    <a:pt x="448969" y="123151"/>
                    <a:pt x="440072" y="113161"/>
                  </a:cubicBezTo>
                  <a:cubicBezTo>
                    <a:pt x="434281" y="106613"/>
                    <a:pt x="430168" y="100149"/>
                    <a:pt x="426559" y="94441"/>
                  </a:cubicBezTo>
                  <a:cubicBezTo>
                    <a:pt x="419424" y="83108"/>
                    <a:pt x="413800" y="74126"/>
                    <a:pt x="398021" y="68837"/>
                  </a:cubicBezTo>
                  <a:cubicBezTo>
                    <a:pt x="394664" y="67746"/>
                    <a:pt x="390886" y="66738"/>
                    <a:pt x="386941" y="65647"/>
                  </a:cubicBezTo>
                  <a:cubicBezTo>
                    <a:pt x="372924" y="61869"/>
                    <a:pt x="357060" y="57588"/>
                    <a:pt x="347912" y="46675"/>
                  </a:cubicBezTo>
                  <a:cubicBezTo>
                    <a:pt x="341364" y="38952"/>
                    <a:pt x="339434" y="29298"/>
                    <a:pt x="342204" y="18049"/>
                  </a:cubicBezTo>
                  <a:cubicBezTo>
                    <a:pt x="343631" y="12172"/>
                    <a:pt x="346401" y="6128"/>
                    <a:pt x="350010" y="0"/>
                  </a:cubicBezTo>
                  <a:lnTo>
                    <a:pt x="0" y="25856"/>
                  </a:lnTo>
                  <a:cubicBezTo>
                    <a:pt x="1259" y="30641"/>
                    <a:pt x="2686" y="35426"/>
                    <a:pt x="4113" y="40043"/>
                  </a:cubicBezTo>
                  <a:cubicBezTo>
                    <a:pt x="6463" y="47682"/>
                    <a:pt x="8897" y="55657"/>
                    <a:pt x="10576" y="64052"/>
                  </a:cubicBezTo>
                  <a:cubicBezTo>
                    <a:pt x="11415" y="68501"/>
                    <a:pt x="12254" y="72867"/>
                    <a:pt x="13010" y="77316"/>
                  </a:cubicBezTo>
                  <a:cubicBezTo>
                    <a:pt x="15528" y="91923"/>
                    <a:pt x="17962" y="105774"/>
                    <a:pt x="24341" y="119122"/>
                  </a:cubicBezTo>
                  <a:cubicBezTo>
                    <a:pt x="31560" y="134148"/>
                    <a:pt x="35756" y="150686"/>
                    <a:pt x="39785" y="166636"/>
                  </a:cubicBezTo>
                  <a:cubicBezTo>
                    <a:pt x="43226" y="180319"/>
                    <a:pt x="46836" y="194423"/>
                    <a:pt x="52291" y="207435"/>
                  </a:cubicBezTo>
                  <a:cubicBezTo>
                    <a:pt x="56740" y="218096"/>
                    <a:pt x="58755" y="227750"/>
                    <a:pt x="60853" y="237992"/>
                  </a:cubicBezTo>
                  <a:cubicBezTo>
                    <a:pt x="61776" y="242357"/>
                    <a:pt x="62699" y="246806"/>
                    <a:pt x="63791" y="251423"/>
                  </a:cubicBezTo>
                  <a:cubicBezTo>
                    <a:pt x="65973" y="260321"/>
                    <a:pt x="69331" y="269220"/>
                    <a:pt x="72604" y="277783"/>
                  </a:cubicBezTo>
                  <a:cubicBezTo>
                    <a:pt x="74366" y="282316"/>
                    <a:pt x="76045" y="286933"/>
                    <a:pt x="77640" y="291466"/>
                  </a:cubicBezTo>
                  <a:cubicBezTo>
                    <a:pt x="80662" y="300197"/>
                    <a:pt x="85362" y="309347"/>
                    <a:pt x="89978" y="318246"/>
                  </a:cubicBezTo>
                  <a:cubicBezTo>
                    <a:pt x="96273" y="330418"/>
                    <a:pt x="102737" y="343010"/>
                    <a:pt x="105171" y="355014"/>
                  </a:cubicBezTo>
                  <a:cubicBezTo>
                    <a:pt x="107941" y="368530"/>
                    <a:pt x="110711" y="381038"/>
                    <a:pt x="114320" y="395813"/>
                  </a:cubicBezTo>
                  <a:lnTo>
                    <a:pt x="115243" y="399675"/>
                  </a:lnTo>
                  <a:cubicBezTo>
                    <a:pt x="122126" y="427965"/>
                    <a:pt x="128673" y="454661"/>
                    <a:pt x="145711" y="480516"/>
                  </a:cubicBezTo>
                  <a:lnTo>
                    <a:pt x="146635" y="481944"/>
                  </a:lnTo>
                  <a:cubicBezTo>
                    <a:pt x="153937" y="493024"/>
                    <a:pt x="164009" y="508135"/>
                    <a:pt x="163254" y="522574"/>
                  </a:cubicBezTo>
                  <a:cubicBezTo>
                    <a:pt x="162666" y="532564"/>
                    <a:pt x="157210" y="538356"/>
                    <a:pt x="151923" y="543897"/>
                  </a:cubicBezTo>
                  <a:cubicBezTo>
                    <a:pt x="147810" y="548178"/>
                    <a:pt x="143865" y="552291"/>
                    <a:pt x="142018" y="558504"/>
                  </a:cubicBezTo>
                  <a:cubicBezTo>
                    <a:pt x="138577" y="570005"/>
                    <a:pt x="138074" y="587130"/>
                    <a:pt x="138074" y="600729"/>
                  </a:cubicBezTo>
                  <a:cubicBezTo>
                    <a:pt x="138074" y="610299"/>
                    <a:pt x="141767" y="616847"/>
                    <a:pt x="146131" y="624486"/>
                  </a:cubicBezTo>
                  <a:cubicBezTo>
                    <a:pt x="149237" y="629859"/>
                    <a:pt x="152426" y="635484"/>
                    <a:pt x="154440" y="642535"/>
                  </a:cubicBezTo>
                  <a:cubicBezTo>
                    <a:pt x="159393" y="659493"/>
                    <a:pt x="159225" y="677709"/>
                    <a:pt x="159057" y="695338"/>
                  </a:cubicBezTo>
                  <a:cubicBezTo>
                    <a:pt x="158973" y="707343"/>
                    <a:pt x="158805" y="719767"/>
                    <a:pt x="160400" y="731352"/>
                  </a:cubicBezTo>
                  <a:cubicBezTo>
                    <a:pt x="162750" y="748981"/>
                    <a:pt x="173914" y="763840"/>
                    <a:pt x="184657" y="778195"/>
                  </a:cubicBezTo>
                  <a:lnTo>
                    <a:pt x="188770" y="783651"/>
                  </a:lnTo>
                  <a:cubicBezTo>
                    <a:pt x="194730" y="791710"/>
                    <a:pt x="201445" y="800777"/>
                    <a:pt x="205641" y="810850"/>
                  </a:cubicBezTo>
                  <a:cubicBezTo>
                    <a:pt x="208831" y="818573"/>
                    <a:pt x="211433" y="818657"/>
                    <a:pt x="221925" y="815551"/>
                  </a:cubicBezTo>
                  <a:cubicBezTo>
                    <a:pt x="226121" y="814292"/>
                    <a:pt x="230654" y="814124"/>
                    <a:pt x="235019" y="813956"/>
                  </a:cubicBezTo>
                  <a:cubicBezTo>
                    <a:pt x="236781" y="813956"/>
                    <a:pt x="238460" y="813789"/>
                    <a:pt x="240054" y="813705"/>
                  </a:cubicBezTo>
                  <a:cubicBezTo>
                    <a:pt x="254324" y="812445"/>
                    <a:pt x="268677" y="811186"/>
                    <a:pt x="282945" y="809927"/>
                  </a:cubicBezTo>
                  <a:cubicBezTo>
                    <a:pt x="326004" y="806233"/>
                    <a:pt x="369147" y="802707"/>
                    <a:pt x="412206" y="799182"/>
                  </a:cubicBezTo>
                  <a:cubicBezTo>
                    <a:pt x="456272" y="795572"/>
                    <a:pt x="500422" y="791962"/>
                    <a:pt x="544488" y="788352"/>
                  </a:cubicBezTo>
                  <a:lnTo>
                    <a:pt x="596108" y="784155"/>
                  </a:lnTo>
                  <a:cubicBezTo>
                    <a:pt x="599381" y="783903"/>
                    <a:pt x="602655" y="783651"/>
                    <a:pt x="605844" y="783316"/>
                  </a:cubicBezTo>
                  <a:cubicBezTo>
                    <a:pt x="621289" y="781721"/>
                    <a:pt x="626744" y="788520"/>
                    <a:pt x="633459" y="799014"/>
                  </a:cubicBezTo>
                  <a:cubicBezTo>
                    <a:pt x="634382" y="800441"/>
                    <a:pt x="635222" y="801868"/>
                    <a:pt x="636229" y="803211"/>
                  </a:cubicBezTo>
                  <a:lnTo>
                    <a:pt x="638243" y="805981"/>
                  </a:lnTo>
                  <a:cubicBezTo>
                    <a:pt x="644454" y="814712"/>
                    <a:pt x="649407" y="820756"/>
                    <a:pt x="656625" y="817734"/>
                  </a:cubicBezTo>
                  <a:cubicBezTo>
                    <a:pt x="658052" y="817146"/>
                    <a:pt x="658388" y="816643"/>
                    <a:pt x="658388" y="812613"/>
                  </a:cubicBezTo>
                  <a:cubicBezTo>
                    <a:pt x="658388" y="811438"/>
                    <a:pt x="658388" y="810179"/>
                    <a:pt x="658555" y="808919"/>
                  </a:cubicBezTo>
                  <a:cubicBezTo>
                    <a:pt x="658807" y="806905"/>
                    <a:pt x="659227" y="804974"/>
                    <a:pt x="659563" y="803127"/>
                  </a:cubicBezTo>
                  <a:cubicBezTo>
                    <a:pt x="660067" y="800693"/>
                    <a:pt x="660570" y="798426"/>
                    <a:pt x="660570" y="795824"/>
                  </a:cubicBezTo>
                  <a:cubicBezTo>
                    <a:pt x="660570" y="789612"/>
                    <a:pt x="659899" y="787765"/>
                    <a:pt x="656205" y="783903"/>
                  </a:cubicBezTo>
                  <a:cubicBezTo>
                    <a:pt x="651673" y="779118"/>
                    <a:pt x="647140" y="773410"/>
                    <a:pt x="645378" y="764595"/>
                  </a:cubicBezTo>
                  <a:cubicBezTo>
                    <a:pt x="644287" y="759306"/>
                    <a:pt x="642859" y="752087"/>
                    <a:pt x="644454" y="746798"/>
                  </a:cubicBezTo>
                  <a:cubicBezTo>
                    <a:pt x="645965" y="741678"/>
                    <a:pt x="650246" y="738907"/>
                    <a:pt x="653687" y="736641"/>
                  </a:cubicBezTo>
                  <a:cubicBezTo>
                    <a:pt x="654946" y="735801"/>
                    <a:pt x="656205" y="735046"/>
                    <a:pt x="657213" y="734122"/>
                  </a:cubicBezTo>
                  <a:cubicBezTo>
                    <a:pt x="666865" y="725475"/>
                    <a:pt x="679875" y="723629"/>
                    <a:pt x="692885" y="728833"/>
                  </a:cubicBezTo>
                  <a:cubicBezTo>
                    <a:pt x="703209" y="733031"/>
                    <a:pt x="716974" y="733367"/>
                    <a:pt x="730236" y="733367"/>
                  </a:cubicBezTo>
                  <a:cubicBezTo>
                    <a:pt x="743498" y="733367"/>
                    <a:pt x="752227" y="732443"/>
                    <a:pt x="757179" y="731352"/>
                  </a:cubicBezTo>
                  <a:cubicBezTo>
                    <a:pt x="756089" y="712464"/>
                    <a:pt x="756172" y="693660"/>
                    <a:pt x="757599" y="675611"/>
                  </a:cubicBezTo>
                  <a:cubicBezTo>
                    <a:pt x="759362" y="653280"/>
                    <a:pt x="766580" y="635316"/>
                    <a:pt x="770190" y="613238"/>
                  </a:cubicBezTo>
                  <a:cubicBezTo>
                    <a:pt x="773883" y="590656"/>
                    <a:pt x="775393" y="562029"/>
                    <a:pt x="782276" y="540875"/>
                  </a:cubicBezTo>
                  <a:cubicBezTo>
                    <a:pt x="782864" y="539196"/>
                    <a:pt x="783619" y="537601"/>
                    <a:pt x="784207" y="535922"/>
                  </a:cubicBezTo>
                  <a:cubicBezTo>
                    <a:pt x="778415" y="509982"/>
                    <a:pt x="762887" y="468092"/>
                    <a:pt x="752143" y="446182"/>
                  </a:cubicBezTo>
                  <a:cubicBezTo>
                    <a:pt x="742407" y="426370"/>
                    <a:pt x="729984" y="413610"/>
                    <a:pt x="716974" y="40001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7A2164F-AC09-56FA-456E-46863F4CF85D}"/>
                </a:ext>
              </a:extLst>
            </p:cNvPr>
            <p:cNvSpPr/>
            <p:nvPr/>
          </p:nvSpPr>
          <p:spPr>
            <a:xfrm>
              <a:off x="9985184" y="4117151"/>
              <a:ext cx="1143443" cy="540938"/>
            </a:xfrm>
            <a:custGeom>
              <a:avLst/>
              <a:gdLst>
                <a:gd name="connsiteX0" fmla="*/ 365202 w 1265925"/>
                <a:gd name="connsiteY0" fmla="*/ 143131 h 598882"/>
                <a:gd name="connsiteX1" fmla="*/ 298726 w 1265925"/>
                <a:gd name="connsiteY1" fmla="*/ 236984 h 598882"/>
                <a:gd name="connsiteX2" fmla="*/ 273881 w 1265925"/>
                <a:gd name="connsiteY2" fmla="*/ 244204 h 598882"/>
                <a:gd name="connsiteX3" fmla="*/ 231325 w 1265925"/>
                <a:gd name="connsiteY3" fmla="*/ 260406 h 598882"/>
                <a:gd name="connsiteX4" fmla="*/ 182727 w 1265925"/>
                <a:gd name="connsiteY4" fmla="*/ 313964 h 598882"/>
                <a:gd name="connsiteX5" fmla="*/ 90566 w 1265925"/>
                <a:gd name="connsiteY5" fmla="*/ 376589 h 598882"/>
                <a:gd name="connsiteX6" fmla="*/ 38946 w 1265925"/>
                <a:gd name="connsiteY6" fmla="*/ 413694 h 598882"/>
                <a:gd name="connsiteX7" fmla="*/ 33239 w 1265925"/>
                <a:gd name="connsiteY7" fmla="*/ 427713 h 598882"/>
                <a:gd name="connsiteX8" fmla="*/ 756 w 1265925"/>
                <a:gd name="connsiteY8" fmla="*/ 455752 h 598882"/>
                <a:gd name="connsiteX9" fmla="*/ 0 w 1265925"/>
                <a:gd name="connsiteY9" fmla="*/ 455752 h 598882"/>
                <a:gd name="connsiteX10" fmla="*/ 1007 w 1265925"/>
                <a:gd name="connsiteY10" fmla="*/ 464818 h 598882"/>
                <a:gd name="connsiteX11" fmla="*/ 5540 w 1265925"/>
                <a:gd name="connsiteY11" fmla="*/ 492857 h 598882"/>
                <a:gd name="connsiteX12" fmla="*/ 170640 w 1265925"/>
                <a:gd name="connsiteY12" fmla="*/ 480684 h 598882"/>
                <a:gd name="connsiteX13" fmla="*/ 226625 w 1265925"/>
                <a:gd name="connsiteY13" fmla="*/ 433422 h 598882"/>
                <a:gd name="connsiteX14" fmla="*/ 250295 w 1265925"/>
                <a:gd name="connsiteY14" fmla="*/ 423180 h 598882"/>
                <a:gd name="connsiteX15" fmla="*/ 334734 w 1265925"/>
                <a:gd name="connsiteY15" fmla="*/ 394806 h 598882"/>
                <a:gd name="connsiteX16" fmla="*/ 460133 w 1265925"/>
                <a:gd name="connsiteY16" fmla="*/ 389097 h 598882"/>
                <a:gd name="connsiteX17" fmla="*/ 471548 w 1265925"/>
                <a:gd name="connsiteY17" fmla="*/ 390021 h 598882"/>
                <a:gd name="connsiteX18" fmla="*/ 526777 w 1265925"/>
                <a:gd name="connsiteY18" fmla="*/ 402697 h 598882"/>
                <a:gd name="connsiteX19" fmla="*/ 539620 w 1265925"/>
                <a:gd name="connsiteY19" fmla="*/ 420746 h 598882"/>
                <a:gd name="connsiteX20" fmla="*/ 562198 w 1265925"/>
                <a:gd name="connsiteY20" fmla="*/ 432666 h 598882"/>
                <a:gd name="connsiteX21" fmla="*/ 616001 w 1265925"/>
                <a:gd name="connsiteY21" fmla="*/ 423348 h 598882"/>
                <a:gd name="connsiteX22" fmla="*/ 675678 w 1265925"/>
                <a:gd name="connsiteY22" fmla="*/ 413862 h 598882"/>
                <a:gd name="connsiteX23" fmla="*/ 778248 w 1265925"/>
                <a:gd name="connsiteY23" fmla="*/ 452310 h 598882"/>
                <a:gd name="connsiteX24" fmla="*/ 828944 w 1265925"/>
                <a:gd name="connsiteY24" fmla="*/ 496383 h 598882"/>
                <a:gd name="connsiteX25" fmla="*/ 858406 w 1265925"/>
                <a:gd name="connsiteY25" fmla="*/ 524925 h 598882"/>
                <a:gd name="connsiteX26" fmla="*/ 885433 w 1265925"/>
                <a:gd name="connsiteY26" fmla="*/ 545492 h 598882"/>
                <a:gd name="connsiteX27" fmla="*/ 944104 w 1265925"/>
                <a:gd name="connsiteY27" fmla="*/ 598883 h 598882"/>
                <a:gd name="connsiteX28" fmla="*/ 945950 w 1265925"/>
                <a:gd name="connsiteY28" fmla="*/ 596616 h 598882"/>
                <a:gd name="connsiteX29" fmla="*/ 996815 w 1265925"/>
                <a:gd name="connsiteY29" fmla="*/ 526436 h 598882"/>
                <a:gd name="connsiteX30" fmla="*/ 1050281 w 1265925"/>
                <a:gd name="connsiteY30" fmla="*/ 467840 h 598882"/>
                <a:gd name="connsiteX31" fmla="*/ 1093089 w 1265925"/>
                <a:gd name="connsiteY31" fmla="*/ 400514 h 598882"/>
                <a:gd name="connsiteX32" fmla="*/ 1222013 w 1265925"/>
                <a:gd name="connsiteY32" fmla="*/ 311446 h 598882"/>
                <a:gd name="connsiteX33" fmla="*/ 1127754 w 1265925"/>
                <a:gd name="connsiteY33" fmla="*/ 294153 h 598882"/>
                <a:gd name="connsiteX34" fmla="*/ 1138581 w 1265925"/>
                <a:gd name="connsiteY34" fmla="*/ 255621 h 598882"/>
                <a:gd name="connsiteX35" fmla="*/ 1094683 w 1265925"/>
                <a:gd name="connsiteY35" fmla="*/ 249157 h 598882"/>
                <a:gd name="connsiteX36" fmla="*/ 1172659 w 1265925"/>
                <a:gd name="connsiteY36" fmla="*/ 213815 h 598882"/>
                <a:gd name="connsiteX37" fmla="*/ 1260287 w 1265925"/>
                <a:gd name="connsiteY37" fmla="*/ 179732 h 598882"/>
                <a:gd name="connsiteX38" fmla="*/ 1234268 w 1265925"/>
                <a:gd name="connsiteY38" fmla="*/ 112322 h 598882"/>
                <a:gd name="connsiteX39" fmla="*/ 1167035 w 1265925"/>
                <a:gd name="connsiteY39" fmla="*/ 104095 h 598882"/>
                <a:gd name="connsiteX40" fmla="*/ 1222517 w 1265925"/>
                <a:gd name="connsiteY40" fmla="*/ 44744 h 598882"/>
                <a:gd name="connsiteX41" fmla="*/ 1219579 w 1265925"/>
                <a:gd name="connsiteY41" fmla="*/ 9654 h 598882"/>
                <a:gd name="connsiteX42" fmla="*/ 1208247 w 1265925"/>
                <a:gd name="connsiteY42" fmla="*/ 0 h 598882"/>
                <a:gd name="connsiteX43" fmla="*/ 1209087 w 1265925"/>
                <a:gd name="connsiteY43" fmla="*/ 4113 h 598882"/>
                <a:gd name="connsiteX44" fmla="*/ 365370 w 1265925"/>
                <a:gd name="connsiteY44" fmla="*/ 143467 h 598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265925" h="598882">
                  <a:moveTo>
                    <a:pt x="365202" y="143131"/>
                  </a:moveTo>
                  <a:cubicBezTo>
                    <a:pt x="363691" y="195178"/>
                    <a:pt x="345813" y="220111"/>
                    <a:pt x="298726" y="236984"/>
                  </a:cubicBezTo>
                  <a:cubicBezTo>
                    <a:pt x="290416" y="239922"/>
                    <a:pt x="282023" y="242105"/>
                    <a:pt x="273881" y="244204"/>
                  </a:cubicBezTo>
                  <a:cubicBezTo>
                    <a:pt x="258521" y="248149"/>
                    <a:pt x="244084" y="251927"/>
                    <a:pt x="231325" y="260406"/>
                  </a:cubicBezTo>
                  <a:cubicBezTo>
                    <a:pt x="210929" y="274005"/>
                    <a:pt x="195989" y="295244"/>
                    <a:pt x="182727" y="313964"/>
                  </a:cubicBezTo>
                  <a:cubicBezTo>
                    <a:pt x="158218" y="348719"/>
                    <a:pt x="128085" y="369118"/>
                    <a:pt x="90566" y="376589"/>
                  </a:cubicBezTo>
                  <a:cubicBezTo>
                    <a:pt x="62951" y="382046"/>
                    <a:pt x="52208" y="387838"/>
                    <a:pt x="38946" y="413694"/>
                  </a:cubicBezTo>
                  <a:cubicBezTo>
                    <a:pt x="36596" y="418311"/>
                    <a:pt x="34833" y="423096"/>
                    <a:pt x="33239" y="427713"/>
                  </a:cubicBezTo>
                  <a:cubicBezTo>
                    <a:pt x="28286" y="441481"/>
                    <a:pt x="23250" y="455752"/>
                    <a:pt x="756" y="455752"/>
                  </a:cubicBezTo>
                  <a:lnTo>
                    <a:pt x="0" y="455752"/>
                  </a:lnTo>
                  <a:cubicBezTo>
                    <a:pt x="336" y="458606"/>
                    <a:pt x="672" y="461628"/>
                    <a:pt x="1007" y="464818"/>
                  </a:cubicBezTo>
                  <a:cubicBezTo>
                    <a:pt x="2015" y="474472"/>
                    <a:pt x="3190" y="485217"/>
                    <a:pt x="5540" y="492857"/>
                  </a:cubicBezTo>
                  <a:lnTo>
                    <a:pt x="170640" y="480684"/>
                  </a:lnTo>
                  <a:cubicBezTo>
                    <a:pt x="186169" y="459529"/>
                    <a:pt x="210426" y="440137"/>
                    <a:pt x="226625" y="433422"/>
                  </a:cubicBezTo>
                  <a:cubicBezTo>
                    <a:pt x="234431" y="430232"/>
                    <a:pt x="242321" y="426706"/>
                    <a:pt x="250295" y="423180"/>
                  </a:cubicBezTo>
                  <a:cubicBezTo>
                    <a:pt x="277154" y="411259"/>
                    <a:pt x="304853" y="398919"/>
                    <a:pt x="334734" y="394806"/>
                  </a:cubicBezTo>
                  <a:cubicBezTo>
                    <a:pt x="376282" y="389013"/>
                    <a:pt x="417074" y="384228"/>
                    <a:pt x="460133" y="389097"/>
                  </a:cubicBezTo>
                  <a:cubicBezTo>
                    <a:pt x="463238" y="389433"/>
                    <a:pt x="467100" y="389769"/>
                    <a:pt x="471548" y="390021"/>
                  </a:cubicBezTo>
                  <a:cubicBezTo>
                    <a:pt x="490350" y="391364"/>
                    <a:pt x="516118" y="393295"/>
                    <a:pt x="526777" y="402697"/>
                  </a:cubicBezTo>
                  <a:cubicBezTo>
                    <a:pt x="534248" y="409329"/>
                    <a:pt x="537185" y="415625"/>
                    <a:pt x="539620" y="420746"/>
                  </a:cubicBezTo>
                  <a:cubicBezTo>
                    <a:pt x="543229" y="428469"/>
                    <a:pt x="545075" y="432414"/>
                    <a:pt x="562198" y="432666"/>
                  </a:cubicBezTo>
                  <a:cubicBezTo>
                    <a:pt x="580832" y="432918"/>
                    <a:pt x="597871" y="428301"/>
                    <a:pt x="616001" y="423348"/>
                  </a:cubicBezTo>
                  <a:cubicBezTo>
                    <a:pt x="634970" y="418143"/>
                    <a:pt x="654527" y="412771"/>
                    <a:pt x="675678" y="413862"/>
                  </a:cubicBezTo>
                  <a:cubicBezTo>
                    <a:pt x="713533" y="415709"/>
                    <a:pt x="744505" y="432330"/>
                    <a:pt x="778248" y="452310"/>
                  </a:cubicBezTo>
                  <a:cubicBezTo>
                    <a:pt x="797301" y="463559"/>
                    <a:pt x="813416" y="480264"/>
                    <a:pt x="828944" y="496383"/>
                  </a:cubicBezTo>
                  <a:cubicBezTo>
                    <a:pt x="838429" y="506204"/>
                    <a:pt x="848249" y="516362"/>
                    <a:pt x="858406" y="524925"/>
                  </a:cubicBezTo>
                  <a:cubicBezTo>
                    <a:pt x="866631" y="531808"/>
                    <a:pt x="875780" y="538440"/>
                    <a:pt x="885433" y="545492"/>
                  </a:cubicBezTo>
                  <a:cubicBezTo>
                    <a:pt x="907088" y="561190"/>
                    <a:pt x="929331" y="577308"/>
                    <a:pt x="944104" y="598883"/>
                  </a:cubicBezTo>
                  <a:cubicBezTo>
                    <a:pt x="944691" y="598127"/>
                    <a:pt x="945362" y="597456"/>
                    <a:pt x="945950" y="596616"/>
                  </a:cubicBezTo>
                  <a:cubicBezTo>
                    <a:pt x="966262" y="570508"/>
                    <a:pt x="968697" y="546163"/>
                    <a:pt x="996815" y="526436"/>
                  </a:cubicBezTo>
                  <a:cubicBezTo>
                    <a:pt x="1027367" y="505029"/>
                    <a:pt x="1035089" y="500832"/>
                    <a:pt x="1050281" y="467840"/>
                  </a:cubicBezTo>
                  <a:cubicBezTo>
                    <a:pt x="1062368" y="441481"/>
                    <a:pt x="1071181" y="418899"/>
                    <a:pt x="1093089" y="400514"/>
                  </a:cubicBezTo>
                  <a:cubicBezTo>
                    <a:pt x="1123977" y="374574"/>
                    <a:pt x="1262638" y="350565"/>
                    <a:pt x="1222013" y="311446"/>
                  </a:cubicBezTo>
                  <a:cubicBezTo>
                    <a:pt x="1203128" y="293229"/>
                    <a:pt x="1133461" y="324458"/>
                    <a:pt x="1127754" y="294153"/>
                  </a:cubicBezTo>
                  <a:cubicBezTo>
                    <a:pt x="1125655" y="283072"/>
                    <a:pt x="1149996" y="270983"/>
                    <a:pt x="1138581" y="255621"/>
                  </a:cubicBezTo>
                  <a:cubicBezTo>
                    <a:pt x="1130440" y="244623"/>
                    <a:pt x="1104420" y="257551"/>
                    <a:pt x="1094683" y="249157"/>
                  </a:cubicBezTo>
                  <a:cubicBezTo>
                    <a:pt x="1061948" y="220614"/>
                    <a:pt x="1148570" y="210289"/>
                    <a:pt x="1172659" y="213815"/>
                  </a:cubicBezTo>
                  <a:cubicBezTo>
                    <a:pt x="1209842" y="219271"/>
                    <a:pt x="1241318" y="221286"/>
                    <a:pt x="1260287" y="179732"/>
                  </a:cubicBezTo>
                  <a:cubicBezTo>
                    <a:pt x="1272542" y="152785"/>
                    <a:pt x="1265240" y="120717"/>
                    <a:pt x="1234268" y="112322"/>
                  </a:cubicBezTo>
                  <a:cubicBezTo>
                    <a:pt x="1217061" y="107705"/>
                    <a:pt x="1177275" y="121724"/>
                    <a:pt x="1167035" y="104095"/>
                  </a:cubicBezTo>
                  <a:cubicBezTo>
                    <a:pt x="1150080" y="75049"/>
                    <a:pt x="1213032" y="66403"/>
                    <a:pt x="1222517" y="44744"/>
                  </a:cubicBezTo>
                  <a:cubicBezTo>
                    <a:pt x="1227049" y="34502"/>
                    <a:pt x="1226797" y="15195"/>
                    <a:pt x="1219579" y="9654"/>
                  </a:cubicBezTo>
                  <a:cubicBezTo>
                    <a:pt x="1213955" y="5289"/>
                    <a:pt x="1210514" y="7052"/>
                    <a:pt x="1208247" y="0"/>
                  </a:cubicBezTo>
                  <a:lnTo>
                    <a:pt x="1209087" y="4113"/>
                  </a:lnTo>
                  <a:cubicBezTo>
                    <a:pt x="896596" y="66487"/>
                    <a:pt x="611804" y="111315"/>
                    <a:pt x="365370" y="143467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DAE9CF8-8238-9F9B-912C-48312F4B400B}"/>
                </a:ext>
              </a:extLst>
            </p:cNvPr>
            <p:cNvSpPr/>
            <p:nvPr/>
          </p:nvSpPr>
          <p:spPr>
            <a:xfrm>
              <a:off x="10516339" y="3576818"/>
              <a:ext cx="589307" cy="433267"/>
            </a:xfrm>
            <a:custGeom>
              <a:avLst/>
              <a:gdLst>
                <a:gd name="connsiteX0" fmla="*/ 505962 w 652432"/>
                <a:gd name="connsiteY0" fmla="*/ 0 h 479677"/>
                <a:gd name="connsiteX1" fmla="*/ 503863 w 652432"/>
                <a:gd name="connsiteY1" fmla="*/ 336 h 479677"/>
                <a:gd name="connsiteX2" fmla="*/ 503863 w 652432"/>
                <a:gd name="connsiteY2" fmla="*/ 336 h 479677"/>
                <a:gd name="connsiteX3" fmla="*/ 0 w 652432"/>
                <a:gd name="connsiteY3" fmla="*/ 93602 h 479677"/>
                <a:gd name="connsiteX4" fmla="*/ 5204 w 652432"/>
                <a:gd name="connsiteY4" fmla="*/ 177549 h 479677"/>
                <a:gd name="connsiteX5" fmla="*/ 11835 w 652432"/>
                <a:gd name="connsiteY5" fmla="*/ 175283 h 479677"/>
                <a:gd name="connsiteX6" fmla="*/ 60601 w 652432"/>
                <a:gd name="connsiteY6" fmla="*/ 131630 h 479677"/>
                <a:gd name="connsiteX7" fmla="*/ 137570 w 652432"/>
                <a:gd name="connsiteY7" fmla="*/ 101493 h 479677"/>
                <a:gd name="connsiteX8" fmla="*/ 158470 w 652432"/>
                <a:gd name="connsiteY8" fmla="*/ 115428 h 479677"/>
                <a:gd name="connsiteX9" fmla="*/ 163926 w 652432"/>
                <a:gd name="connsiteY9" fmla="*/ 130790 h 479677"/>
                <a:gd name="connsiteX10" fmla="*/ 197668 w 652432"/>
                <a:gd name="connsiteY10" fmla="*/ 138681 h 479677"/>
                <a:gd name="connsiteX11" fmla="*/ 208747 w 652432"/>
                <a:gd name="connsiteY11" fmla="*/ 145985 h 479677"/>
                <a:gd name="connsiteX12" fmla="*/ 254240 w 652432"/>
                <a:gd name="connsiteY12" fmla="*/ 136751 h 479677"/>
                <a:gd name="connsiteX13" fmla="*/ 255247 w 652432"/>
                <a:gd name="connsiteY13" fmla="*/ 136247 h 479677"/>
                <a:gd name="connsiteX14" fmla="*/ 260367 w 652432"/>
                <a:gd name="connsiteY14" fmla="*/ 132721 h 479677"/>
                <a:gd name="connsiteX15" fmla="*/ 277490 w 652432"/>
                <a:gd name="connsiteY15" fmla="*/ 127097 h 479677"/>
                <a:gd name="connsiteX16" fmla="*/ 291171 w 652432"/>
                <a:gd name="connsiteY16" fmla="*/ 136499 h 479677"/>
                <a:gd name="connsiteX17" fmla="*/ 297131 w 652432"/>
                <a:gd name="connsiteY17" fmla="*/ 141955 h 479677"/>
                <a:gd name="connsiteX18" fmla="*/ 313750 w 652432"/>
                <a:gd name="connsiteY18" fmla="*/ 152197 h 479677"/>
                <a:gd name="connsiteX19" fmla="*/ 346736 w 652432"/>
                <a:gd name="connsiteY19" fmla="*/ 175534 h 479677"/>
                <a:gd name="connsiteX20" fmla="*/ 359159 w 652432"/>
                <a:gd name="connsiteY20" fmla="*/ 179060 h 479677"/>
                <a:gd name="connsiteX21" fmla="*/ 375275 w 652432"/>
                <a:gd name="connsiteY21" fmla="*/ 185189 h 479677"/>
                <a:gd name="connsiteX22" fmla="*/ 377289 w 652432"/>
                <a:gd name="connsiteY22" fmla="*/ 199208 h 479677"/>
                <a:gd name="connsiteX23" fmla="*/ 367972 w 652432"/>
                <a:gd name="connsiteY23" fmla="*/ 217089 h 479677"/>
                <a:gd name="connsiteX24" fmla="*/ 360082 w 652432"/>
                <a:gd name="connsiteY24" fmla="*/ 231024 h 479677"/>
                <a:gd name="connsiteX25" fmla="*/ 362768 w 652432"/>
                <a:gd name="connsiteY25" fmla="*/ 269388 h 479677"/>
                <a:gd name="connsiteX26" fmla="*/ 394160 w 652432"/>
                <a:gd name="connsiteY26" fmla="*/ 289787 h 479677"/>
                <a:gd name="connsiteX27" fmla="*/ 474402 w 652432"/>
                <a:gd name="connsiteY27" fmla="*/ 317994 h 479677"/>
                <a:gd name="connsiteX28" fmla="*/ 501681 w 652432"/>
                <a:gd name="connsiteY28" fmla="*/ 327312 h 479677"/>
                <a:gd name="connsiteX29" fmla="*/ 533660 w 652432"/>
                <a:gd name="connsiteY29" fmla="*/ 338477 h 479677"/>
                <a:gd name="connsiteX30" fmla="*/ 533660 w 652432"/>
                <a:gd name="connsiteY30" fmla="*/ 338309 h 479677"/>
                <a:gd name="connsiteX31" fmla="*/ 476752 w 652432"/>
                <a:gd name="connsiteY31" fmla="*/ 121556 h 479677"/>
                <a:gd name="connsiteX32" fmla="*/ 520315 w 652432"/>
                <a:gd name="connsiteY32" fmla="*/ 222881 h 479677"/>
                <a:gd name="connsiteX33" fmla="*/ 573781 w 652432"/>
                <a:gd name="connsiteY33" fmla="*/ 345277 h 479677"/>
                <a:gd name="connsiteX34" fmla="*/ 576299 w 652432"/>
                <a:gd name="connsiteY34" fmla="*/ 472205 h 479677"/>
                <a:gd name="connsiteX35" fmla="*/ 612223 w 652432"/>
                <a:gd name="connsiteY35" fmla="*/ 413862 h 479677"/>
                <a:gd name="connsiteX36" fmla="*/ 637068 w 652432"/>
                <a:gd name="connsiteY36" fmla="*/ 333020 h 479677"/>
                <a:gd name="connsiteX37" fmla="*/ 598626 w 652432"/>
                <a:gd name="connsiteY37" fmla="*/ 329494 h 479677"/>
                <a:gd name="connsiteX38" fmla="*/ 617679 w 652432"/>
                <a:gd name="connsiteY38" fmla="*/ 299021 h 479677"/>
                <a:gd name="connsiteX39" fmla="*/ 648736 w 652432"/>
                <a:gd name="connsiteY39" fmla="*/ 285254 h 479677"/>
                <a:gd name="connsiteX40" fmla="*/ 648148 w 652432"/>
                <a:gd name="connsiteY40" fmla="*/ 246470 h 479677"/>
                <a:gd name="connsiteX41" fmla="*/ 610125 w 652432"/>
                <a:gd name="connsiteY41" fmla="*/ 222293 h 479677"/>
                <a:gd name="connsiteX42" fmla="*/ 568494 w 652432"/>
                <a:gd name="connsiteY42" fmla="*/ 222293 h 479677"/>
                <a:gd name="connsiteX43" fmla="*/ 505710 w 652432"/>
                <a:gd name="connsiteY43" fmla="*/ 252 h 47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652432" h="479677">
                  <a:moveTo>
                    <a:pt x="505962" y="0"/>
                  </a:moveTo>
                  <a:cubicBezTo>
                    <a:pt x="505290" y="84"/>
                    <a:pt x="504535" y="252"/>
                    <a:pt x="503863" y="336"/>
                  </a:cubicBezTo>
                  <a:lnTo>
                    <a:pt x="503863" y="336"/>
                  </a:lnTo>
                  <a:cubicBezTo>
                    <a:pt x="503863" y="336"/>
                    <a:pt x="0" y="93602"/>
                    <a:pt x="0" y="93602"/>
                  </a:cubicBezTo>
                  <a:lnTo>
                    <a:pt x="5204" y="177549"/>
                  </a:lnTo>
                  <a:cubicBezTo>
                    <a:pt x="7554" y="176962"/>
                    <a:pt x="10156" y="176122"/>
                    <a:pt x="11835" y="175283"/>
                  </a:cubicBezTo>
                  <a:cubicBezTo>
                    <a:pt x="30972" y="165964"/>
                    <a:pt x="46500" y="152029"/>
                    <a:pt x="60601" y="131630"/>
                  </a:cubicBezTo>
                  <a:cubicBezTo>
                    <a:pt x="77305" y="107537"/>
                    <a:pt x="108193" y="95448"/>
                    <a:pt x="137570" y="101493"/>
                  </a:cubicBezTo>
                  <a:cubicBezTo>
                    <a:pt x="146803" y="103423"/>
                    <a:pt x="153853" y="108124"/>
                    <a:pt x="158470" y="115428"/>
                  </a:cubicBezTo>
                  <a:cubicBezTo>
                    <a:pt x="161156" y="119709"/>
                    <a:pt x="162919" y="124830"/>
                    <a:pt x="163926" y="130790"/>
                  </a:cubicBezTo>
                  <a:cubicBezTo>
                    <a:pt x="177355" y="123655"/>
                    <a:pt x="188099" y="131546"/>
                    <a:pt x="197668" y="138681"/>
                  </a:cubicBezTo>
                  <a:cubicBezTo>
                    <a:pt x="201277" y="141284"/>
                    <a:pt x="204970" y="144054"/>
                    <a:pt x="208747" y="145985"/>
                  </a:cubicBezTo>
                  <a:cubicBezTo>
                    <a:pt x="222512" y="153037"/>
                    <a:pt x="239383" y="144390"/>
                    <a:pt x="254240" y="136751"/>
                  </a:cubicBezTo>
                  <a:lnTo>
                    <a:pt x="255247" y="136247"/>
                  </a:lnTo>
                  <a:cubicBezTo>
                    <a:pt x="257010" y="135324"/>
                    <a:pt x="258688" y="134064"/>
                    <a:pt x="260367" y="132721"/>
                  </a:cubicBezTo>
                  <a:cubicBezTo>
                    <a:pt x="264396" y="129531"/>
                    <a:pt x="269432" y="125502"/>
                    <a:pt x="277490" y="127097"/>
                  </a:cubicBezTo>
                  <a:cubicBezTo>
                    <a:pt x="283030" y="128188"/>
                    <a:pt x="287395" y="132637"/>
                    <a:pt x="291171" y="136499"/>
                  </a:cubicBezTo>
                  <a:cubicBezTo>
                    <a:pt x="293270" y="138681"/>
                    <a:pt x="295285" y="140696"/>
                    <a:pt x="297131" y="141955"/>
                  </a:cubicBezTo>
                  <a:cubicBezTo>
                    <a:pt x="302922" y="145817"/>
                    <a:pt x="308462" y="149091"/>
                    <a:pt x="313750" y="152197"/>
                  </a:cubicBezTo>
                  <a:cubicBezTo>
                    <a:pt x="324662" y="158577"/>
                    <a:pt x="334986" y="164621"/>
                    <a:pt x="346736" y="175534"/>
                  </a:cubicBezTo>
                  <a:cubicBezTo>
                    <a:pt x="349506" y="178053"/>
                    <a:pt x="354375" y="178557"/>
                    <a:pt x="359159" y="179060"/>
                  </a:cubicBezTo>
                  <a:cubicBezTo>
                    <a:pt x="365286" y="179648"/>
                    <a:pt x="371581" y="180320"/>
                    <a:pt x="375275" y="185189"/>
                  </a:cubicBezTo>
                  <a:cubicBezTo>
                    <a:pt x="377792" y="188546"/>
                    <a:pt x="378380" y="193080"/>
                    <a:pt x="377289" y="199208"/>
                  </a:cubicBezTo>
                  <a:cubicBezTo>
                    <a:pt x="375946" y="206343"/>
                    <a:pt x="371917" y="211800"/>
                    <a:pt x="367972" y="217089"/>
                  </a:cubicBezTo>
                  <a:cubicBezTo>
                    <a:pt x="364615" y="221622"/>
                    <a:pt x="361425" y="225903"/>
                    <a:pt x="360082" y="231024"/>
                  </a:cubicBezTo>
                  <a:cubicBezTo>
                    <a:pt x="355970" y="246470"/>
                    <a:pt x="356893" y="259398"/>
                    <a:pt x="362768" y="269388"/>
                  </a:cubicBezTo>
                  <a:cubicBezTo>
                    <a:pt x="368560" y="279210"/>
                    <a:pt x="379136" y="286094"/>
                    <a:pt x="394160" y="289787"/>
                  </a:cubicBezTo>
                  <a:cubicBezTo>
                    <a:pt x="422195" y="296755"/>
                    <a:pt x="445444" y="304898"/>
                    <a:pt x="474402" y="317994"/>
                  </a:cubicBezTo>
                  <a:cubicBezTo>
                    <a:pt x="482040" y="321436"/>
                    <a:pt x="491609" y="324290"/>
                    <a:pt x="501681" y="327312"/>
                  </a:cubicBezTo>
                  <a:cubicBezTo>
                    <a:pt x="512844" y="330670"/>
                    <a:pt x="524259" y="334028"/>
                    <a:pt x="533660" y="338477"/>
                  </a:cubicBezTo>
                  <a:cubicBezTo>
                    <a:pt x="533660" y="338477"/>
                    <a:pt x="533660" y="338393"/>
                    <a:pt x="533660" y="338309"/>
                  </a:cubicBezTo>
                  <a:cubicBezTo>
                    <a:pt x="516705" y="247981"/>
                    <a:pt x="440660" y="145229"/>
                    <a:pt x="476752" y="121556"/>
                  </a:cubicBezTo>
                  <a:cubicBezTo>
                    <a:pt x="509739" y="99898"/>
                    <a:pt x="509655" y="192324"/>
                    <a:pt x="520315" y="222881"/>
                  </a:cubicBezTo>
                  <a:cubicBezTo>
                    <a:pt x="531310" y="254445"/>
                    <a:pt x="562954" y="305234"/>
                    <a:pt x="573781" y="345277"/>
                  </a:cubicBezTo>
                  <a:cubicBezTo>
                    <a:pt x="593170" y="416464"/>
                    <a:pt x="564297" y="459781"/>
                    <a:pt x="576299" y="472205"/>
                  </a:cubicBezTo>
                  <a:cubicBezTo>
                    <a:pt x="603494" y="500412"/>
                    <a:pt x="610545" y="441649"/>
                    <a:pt x="612223" y="413862"/>
                  </a:cubicBezTo>
                  <a:cubicBezTo>
                    <a:pt x="613902" y="386411"/>
                    <a:pt x="655282" y="348551"/>
                    <a:pt x="637068" y="333020"/>
                  </a:cubicBezTo>
                  <a:cubicBezTo>
                    <a:pt x="631361" y="328151"/>
                    <a:pt x="602487" y="336630"/>
                    <a:pt x="598626" y="329494"/>
                  </a:cubicBezTo>
                  <a:cubicBezTo>
                    <a:pt x="593422" y="320008"/>
                    <a:pt x="611300" y="303051"/>
                    <a:pt x="617679" y="299021"/>
                  </a:cubicBezTo>
                  <a:cubicBezTo>
                    <a:pt x="633627" y="289032"/>
                    <a:pt x="638328" y="307920"/>
                    <a:pt x="648736" y="285254"/>
                  </a:cubicBezTo>
                  <a:cubicBezTo>
                    <a:pt x="652596" y="276775"/>
                    <a:pt x="654863" y="253102"/>
                    <a:pt x="648148" y="246470"/>
                  </a:cubicBezTo>
                  <a:cubicBezTo>
                    <a:pt x="632788" y="231108"/>
                    <a:pt x="598206" y="247897"/>
                    <a:pt x="610125" y="222293"/>
                  </a:cubicBezTo>
                  <a:lnTo>
                    <a:pt x="568494" y="222293"/>
                  </a:lnTo>
                  <a:lnTo>
                    <a:pt x="505710" y="252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CB0F1816-722D-8544-77DA-87D6A08B461F}"/>
                </a:ext>
              </a:extLst>
            </p:cNvPr>
            <p:cNvSpPr/>
            <p:nvPr/>
          </p:nvSpPr>
          <p:spPr>
            <a:xfrm>
              <a:off x="10091400" y="3698703"/>
              <a:ext cx="985054" cy="567141"/>
            </a:xfrm>
            <a:custGeom>
              <a:avLst/>
              <a:gdLst>
                <a:gd name="connsiteX0" fmla="*/ 941502 w 1090570"/>
                <a:gd name="connsiteY0" fmla="*/ 190524 h 627891"/>
                <a:gd name="connsiteX1" fmla="*/ 862686 w 1090570"/>
                <a:gd name="connsiteY1" fmla="*/ 162905 h 627891"/>
                <a:gd name="connsiteX2" fmla="*/ 826091 w 1090570"/>
                <a:gd name="connsiteY2" fmla="*/ 138644 h 627891"/>
                <a:gd name="connsiteX3" fmla="*/ 822565 w 1090570"/>
                <a:gd name="connsiteY3" fmla="*/ 93816 h 627891"/>
                <a:gd name="connsiteX4" fmla="*/ 831798 w 1090570"/>
                <a:gd name="connsiteY4" fmla="*/ 77027 h 627891"/>
                <a:gd name="connsiteX5" fmla="*/ 839604 w 1090570"/>
                <a:gd name="connsiteY5" fmla="*/ 62504 h 627891"/>
                <a:gd name="connsiteX6" fmla="*/ 839185 w 1090570"/>
                <a:gd name="connsiteY6" fmla="*/ 55033 h 627891"/>
                <a:gd name="connsiteX7" fmla="*/ 829028 w 1090570"/>
                <a:gd name="connsiteY7" fmla="*/ 52262 h 627891"/>
                <a:gd name="connsiteX8" fmla="*/ 811738 w 1090570"/>
                <a:gd name="connsiteY8" fmla="*/ 46554 h 627891"/>
                <a:gd name="connsiteX9" fmla="*/ 780178 w 1090570"/>
                <a:gd name="connsiteY9" fmla="*/ 24308 h 627891"/>
                <a:gd name="connsiteX10" fmla="*/ 763139 w 1090570"/>
                <a:gd name="connsiteY10" fmla="*/ 13814 h 627891"/>
                <a:gd name="connsiteX11" fmla="*/ 755836 w 1090570"/>
                <a:gd name="connsiteY11" fmla="*/ 7266 h 627891"/>
                <a:gd name="connsiteX12" fmla="*/ 746520 w 1090570"/>
                <a:gd name="connsiteY12" fmla="*/ 215 h 627891"/>
                <a:gd name="connsiteX13" fmla="*/ 736196 w 1090570"/>
                <a:gd name="connsiteY13" fmla="*/ 4244 h 627891"/>
                <a:gd name="connsiteX14" fmla="*/ 729733 w 1090570"/>
                <a:gd name="connsiteY14" fmla="*/ 8694 h 627891"/>
                <a:gd name="connsiteX15" fmla="*/ 728726 w 1090570"/>
                <a:gd name="connsiteY15" fmla="*/ 9197 h 627891"/>
                <a:gd name="connsiteX16" fmla="*/ 675594 w 1090570"/>
                <a:gd name="connsiteY16" fmla="*/ 18431 h 627891"/>
                <a:gd name="connsiteX17" fmla="*/ 663424 w 1090570"/>
                <a:gd name="connsiteY17" fmla="*/ 10372 h 627891"/>
                <a:gd name="connsiteX18" fmla="*/ 635642 w 1090570"/>
                <a:gd name="connsiteY18" fmla="*/ 5168 h 627891"/>
                <a:gd name="connsiteX19" fmla="*/ 631277 w 1090570"/>
                <a:gd name="connsiteY19" fmla="*/ 39083 h 627891"/>
                <a:gd name="connsiteX20" fmla="*/ 609370 w 1090570"/>
                <a:gd name="connsiteY20" fmla="*/ 74676 h 627891"/>
                <a:gd name="connsiteX21" fmla="*/ 597619 w 1090570"/>
                <a:gd name="connsiteY21" fmla="*/ 90207 h 627891"/>
                <a:gd name="connsiteX22" fmla="*/ 579069 w 1090570"/>
                <a:gd name="connsiteY22" fmla="*/ 111445 h 627891"/>
                <a:gd name="connsiteX23" fmla="*/ 550531 w 1090570"/>
                <a:gd name="connsiteY23" fmla="*/ 129494 h 627891"/>
                <a:gd name="connsiteX24" fmla="*/ 506297 w 1090570"/>
                <a:gd name="connsiteY24" fmla="*/ 158372 h 627891"/>
                <a:gd name="connsiteX25" fmla="*/ 503192 w 1090570"/>
                <a:gd name="connsiteY25" fmla="*/ 160555 h 627891"/>
                <a:gd name="connsiteX26" fmla="*/ 473227 w 1090570"/>
                <a:gd name="connsiteY26" fmla="*/ 188174 h 627891"/>
                <a:gd name="connsiteX27" fmla="*/ 466596 w 1090570"/>
                <a:gd name="connsiteY27" fmla="*/ 215457 h 627891"/>
                <a:gd name="connsiteX28" fmla="*/ 464665 w 1090570"/>
                <a:gd name="connsiteY28" fmla="*/ 229644 h 627891"/>
                <a:gd name="connsiteX29" fmla="*/ 455264 w 1090570"/>
                <a:gd name="connsiteY29" fmla="*/ 255080 h 627891"/>
                <a:gd name="connsiteX30" fmla="*/ 447795 w 1090570"/>
                <a:gd name="connsiteY30" fmla="*/ 273129 h 627891"/>
                <a:gd name="connsiteX31" fmla="*/ 446032 w 1090570"/>
                <a:gd name="connsiteY31" fmla="*/ 289246 h 627891"/>
                <a:gd name="connsiteX32" fmla="*/ 440744 w 1090570"/>
                <a:gd name="connsiteY32" fmla="*/ 314683 h 627891"/>
                <a:gd name="connsiteX33" fmla="*/ 433106 w 1090570"/>
                <a:gd name="connsiteY33" fmla="*/ 327443 h 627891"/>
                <a:gd name="connsiteX34" fmla="*/ 408681 w 1090570"/>
                <a:gd name="connsiteY34" fmla="*/ 376636 h 627891"/>
                <a:gd name="connsiteX35" fmla="*/ 406331 w 1090570"/>
                <a:gd name="connsiteY35" fmla="*/ 389144 h 627891"/>
                <a:gd name="connsiteX36" fmla="*/ 394495 w 1090570"/>
                <a:gd name="connsiteY36" fmla="*/ 415252 h 627891"/>
                <a:gd name="connsiteX37" fmla="*/ 373008 w 1090570"/>
                <a:gd name="connsiteY37" fmla="*/ 421128 h 627891"/>
                <a:gd name="connsiteX38" fmla="*/ 354039 w 1090570"/>
                <a:gd name="connsiteY38" fmla="*/ 426333 h 627891"/>
                <a:gd name="connsiteX39" fmla="*/ 348583 w 1090570"/>
                <a:gd name="connsiteY39" fmla="*/ 433469 h 627891"/>
                <a:gd name="connsiteX40" fmla="*/ 343211 w 1090570"/>
                <a:gd name="connsiteY40" fmla="*/ 442115 h 627891"/>
                <a:gd name="connsiteX41" fmla="*/ 324410 w 1090570"/>
                <a:gd name="connsiteY41" fmla="*/ 453700 h 627891"/>
                <a:gd name="connsiteX42" fmla="*/ 321388 w 1090570"/>
                <a:gd name="connsiteY42" fmla="*/ 455127 h 627891"/>
                <a:gd name="connsiteX43" fmla="*/ 282862 w 1090570"/>
                <a:gd name="connsiteY43" fmla="*/ 458401 h 627891"/>
                <a:gd name="connsiteX44" fmla="*/ 278161 w 1090570"/>
                <a:gd name="connsiteY44" fmla="*/ 457729 h 627891"/>
                <a:gd name="connsiteX45" fmla="*/ 260367 w 1090570"/>
                <a:gd name="connsiteY45" fmla="*/ 465621 h 627891"/>
                <a:gd name="connsiteX46" fmla="*/ 251135 w 1090570"/>
                <a:gd name="connsiteY46" fmla="*/ 476450 h 627891"/>
                <a:gd name="connsiteX47" fmla="*/ 224695 w 1090570"/>
                <a:gd name="connsiteY47" fmla="*/ 486775 h 627891"/>
                <a:gd name="connsiteX48" fmla="*/ 211433 w 1090570"/>
                <a:gd name="connsiteY48" fmla="*/ 484845 h 627891"/>
                <a:gd name="connsiteX49" fmla="*/ 175844 w 1090570"/>
                <a:gd name="connsiteY49" fmla="*/ 456974 h 627891"/>
                <a:gd name="connsiteX50" fmla="*/ 164849 w 1090570"/>
                <a:gd name="connsiteY50" fmla="*/ 445137 h 627891"/>
                <a:gd name="connsiteX51" fmla="*/ 0 w 1090570"/>
                <a:gd name="connsiteY51" fmla="*/ 627891 h 627891"/>
                <a:gd name="connsiteX52" fmla="*/ 1089731 w 1090570"/>
                <a:gd name="connsiteY52" fmla="*/ 458989 h 627891"/>
                <a:gd name="connsiteX53" fmla="*/ 1090570 w 1090570"/>
                <a:gd name="connsiteY53" fmla="*/ 463102 h 627891"/>
                <a:gd name="connsiteX54" fmla="*/ 1088556 w 1090570"/>
                <a:gd name="connsiteY54" fmla="*/ 438925 h 627891"/>
                <a:gd name="connsiteX55" fmla="*/ 1032487 w 1090570"/>
                <a:gd name="connsiteY55" fmla="*/ 390991 h 627891"/>
                <a:gd name="connsiteX56" fmla="*/ 984980 w 1090570"/>
                <a:gd name="connsiteY56" fmla="*/ 350444 h 627891"/>
                <a:gd name="connsiteX57" fmla="*/ 1007475 w 1090570"/>
                <a:gd name="connsiteY57" fmla="*/ 298229 h 627891"/>
                <a:gd name="connsiteX58" fmla="*/ 1004621 w 1090570"/>
                <a:gd name="connsiteY58" fmla="*/ 257262 h 627891"/>
                <a:gd name="connsiteX59" fmla="*/ 1005880 w 1090570"/>
                <a:gd name="connsiteY59" fmla="*/ 213778 h 627891"/>
                <a:gd name="connsiteX60" fmla="*/ 969871 w 1090570"/>
                <a:gd name="connsiteY60" fmla="*/ 200262 h 627891"/>
                <a:gd name="connsiteX61" fmla="*/ 941502 w 1090570"/>
                <a:gd name="connsiteY61" fmla="*/ 190608 h 627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090570" h="627891">
                  <a:moveTo>
                    <a:pt x="941502" y="190524"/>
                  </a:moveTo>
                  <a:cubicBezTo>
                    <a:pt x="912711" y="177512"/>
                    <a:pt x="890636" y="169789"/>
                    <a:pt x="862686" y="162905"/>
                  </a:cubicBezTo>
                  <a:cubicBezTo>
                    <a:pt x="845396" y="158624"/>
                    <a:pt x="833057" y="150397"/>
                    <a:pt x="826091" y="138644"/>
                  </a:cubicBezTo>
                  <a:cubicBezTo>
                    <a:pt x="819040" y="126640"/>
                    <a:pt x="817781" y="111613"/>
                    <a:pt x="822565" y="93816"/>
                  </a:cubicBezTo>
                  <a:cubicBezTo>
                    <a:pt x="824328" y="87185"/>
                    <a:pt x="828105" y="82064"/>
                    <a:pt x="831798" y="77027"/>
                  </a:cubicBezTo>
                  <a:cubicBezTo>
                    <a:pt x="835323" y="72242"/>
                    <a:pt x="838597" y="67793"/>
                    <a:pt x="839604" y="62504"/>
                  </a:cubicBezTo>
                  <a:cubicBezTo>
                    <a:pt x="840108" y="59985"/>
                    <a:pt x="840359" y="56711"/>
                    <a:pt x="839185" y="55033"/>
                  </a:cubicBezTo>
                  <a:cubicBezTo>
                    <a:pt x="837757" y="53102"/>
                    <a:pt x="833309" y="52682"/>
                    <a:pt x="829028" y="52262"/>
                  </a:cubicBezTo>
                  <a:cubicBezTo>
                    <a:pt x="823153" y="51675"/>
                    <a:pt x="816522" y="51003"/>
                    <a:pt x="811738" y="46554"/>
                  </a:cubicBezTo>
                  <a:cubicBezTo>
                    <a:pt x="800658" y="36312"/>
                    <a:pt x="790670" y="30520"/>
                    <a:pt x="780178" y="24308"/>
                  </a:cubicBezTo>
                  <a:cubicBezTo>
                    <a:pt x="774806" y="21118"/>
                    <a:pt x="769182" y="17844"/>
                    <a:pt x="763139" y="13814"/>
                  </a:cubicBezTo>
                  <a:cubicBezTo>
                    <a:pt x="760453" y="12051"/>
                    <a:pt x="758103" y="9617"/>
                    <a:pt x="755836" y="7266"/>
                  </a:cubicBezTo>
                  <a:cubicBezTo>
                    <a:pt x="752731" y="4076"/>
                    <a:pt x="749541" y="802"/>
                    <a:pt x="746520" y="215"/>
                  </a:cubicBezTo>
                  <a:cubicBezTo>
                    <a:pt x="742491" y="-625"/>
                    <a:pt x="740225" y="1054"/>
                    <a:pt x="736196" y="4244"/>
                  </a:cubicBezTo>
                  <a:cubicBezTo>
                    <a:pt x="734349" y="5755"/>
                    <a:pt x="732251" y="7350"/>
                    <a:pt x="729733" y="8694"/>
                  </a:cubicBezTo>
                  <a:lnTo>
                    <a:pt x="728726" y="9197"/>
                  </a:lnTo>
                  <a:cubicBezTo>
                    <a:pt x="712946" y="17340"/>
                    <a:pt x="693305" y="27414"/>
                    <a:pt x="675594" y="18431"/>
                  </a:cubicBezTo>
                  <a:cubicBezTo>
                    <a:pt x="671230" y="16165"/>
                    <a:pt x="667201" y="13227"/>
                    <a:pt x="663424" y="10372"/>
                  </a:cubicBezTo>
                  <a:cubicBezTo>
                    <a:pt x="652512" y="2313"/>
                    <a:pt x="645546" y="-1968"/>
                    <a:pt x="635642" y="5168"/>
                  </a:cubicBezTo>
                  <a:cubicBezTo>
                    <a:pt x="635893" y="14822"/>
                    <a:pt x="634466" y="26155"/>
                    <a:pt x="631277" y="39083"/>
                  </a:cubicBezTo>
                  <a:cubicBezTo>
                    <a:pt x="627248" y="55704"/>
                    <a:pt x="622212" y="62588"/>
                    <a:pt x="609370" y="74676"/>
                  </a:cubicBezTo>
                  <a:cubicBezTo>
                    <a:pt x="604502" y="79293"/>
                    <a:pt x="601144" y="84582"/>
                    <a:pt x="597619" y="90207"/>
                  </a:cubicBezTo>
                  <a:cubicBezTo>
                    <a:pt x="592834" y="97762"/>
                    <a:pt x="587966" y="105569"/>
                    <a:pt x="579069" y="111445"/>
                  </a:cubicBezTo>
                  <a:cubicBezTo>
                    <a:pt x="569584" y="117741"/>
                    <a:pt x="560100" y="123618"/>
                    <a:pt x="550531" y="129494"/>
                  </a:cubicBezTo>
                  <a:cubicBezTo>
                    <a:pt x="536010" y="138477"/>
                    <a:pt x="520986" y="147795"/>
                    <a:pt x="506297" y="158372"/>
                  </a:cubicBezTo>
                  <a:lnTo>
                    <a:pt x="503192" y="160555"/>
                  </a:lnTo>
                  <a:cubicBezTo>
                    <a:pt x="492616" y="168110"/>
                    <a:pt x="479522" y="177428"/>
                    <a:pt x="473227" y="188174"/>
                  </a:cubicBezTo>
                  <a:cubicBezTo>
                    <a:pt x="468610" y="195981"/>
                    <a:pt x="467603" y="205887"/>
                    <a:pt x="466596" y="215457"/>
                  </a:cubicBezTo>
                  <a:cubicBezTo>
                    <a:pt x="466092" y="220158"/>
                    <a:pt x="465589" y="225027"/>
                    <a:pt x="464665" y="229644"/>
                  </a:cubicBezTo>
                  <a:cubicBezTo>
                    <a:pt x="462735" y="239382"/>
                    <a:pt x="458874" y="247357"/>
                    <a:pt x="455264" y="255080"/>
                  </a:cubicBezTo>
                  <a:cubicBezTo>
                    <a:pt x="452579" y="260788"/>
                    <a:pt x="449725" y="266665"/>
                    <a:pt x="447795" y="273129"/>
                  </a:cubicBezTo>
                  <a:cubicBezTo>
                    <a:pt x="446200" y="278333"/>
                    <a:pt x="446116" y="283622"/>
                    <a:pt x="446032" y="289246"/>
                  </a:cubicBezTo>
                  <a:cubicBezTo>
                    <a:pt x="445948" y="297473"/>
                    <a:pt x="445780" y="306036"/>
                    <a:pt x="440744" y="314683"/>
                  </a:cubicBezTo>
                  <a:cubicBezTo>
                    <a:pt x="438226" y="319048"/>
                    <a:pt x="435624" y="323329"/>
                    <a:pt x="433106" y="327443"/>
                  </a:cubicBezTo>
                  <a:cubicBezTo>
                    <a:pt x="423453" y="343393"/>
                    <a:pt x="414388" y="358503"/>
                    <a:pt x="408681" y="376636"/>
                  </a:cubicBezTo>
                  <a:cubicBezTo>
                    <a:pt x="407422" y="380582"/>
                    <a:pt x="406918" y="384947"/>
                    <a:pt x="406331" y="389144"/>
                  </a:cubicBezTo>
                  <a:cubicBezTo>
                    <a:pt x="405071" y="398798"/>
                    <a:pt x="403812" y="408788"/>
                    <a:pt x="394495" y="415252"/>
                  </a:cubicBezTo>
                  <a:cubicBezTo>
                    <a:pt x="388116" y="419701"/>
                    <a:pt x="380394" y="420457"/>
                    <a:pt x="373008" y="421128"/>
                  </a:cubicBezTo>
                  <a:cubicBezTo>
                    <a:pt x="365874" y="421800"/>
                    <a:pt x="359075" y="422471"/>
                    <a:pt x="354039" y="426333"/>
                  </a:cubicBezTo>
                  <a:cubicBezTo>
                    <a:pt x="350849" y="428684"/>
                    <a:pt x="350010" y="430614"/>
                    <a:pt x="348583" y="433469"/>
                  </a:cubicBezTo>
                  <a:cubicBezTo>
                    <a:pt x="347492" y="435819"/>
                    <a:pt x="346065" y="438673"/>
                    <a:pt x="343211" y="442115"/>
                  </a:cubicBezTo>
                  <a:cubicBezTo>
                    <a:pt x="339014" y="447068"/>
                    <a:pt x="330956" y="450762"/>
                    <a:pt x="324410" y="453700"/>
                  </a:cubicBezTo>
                  <a:lnTo>
                    <a:pt x="321388" y="455127"/>
                  </a:lnTo>
                  <a:cubicBezTo>
                    <a:pt x="306783" y="462011"/>
                    <a:pt x="296208" y="460416"/>
                    <a:pt x="282862" y="458401"/>
                  </a:cubicBezTo>
                  <a:lnTo>
                    <a:pt x="278161" y="457729"/>
                  </a:lnTo>
                  <a:cubicBezTo>
                    <a:pt x="267501" y="456134"/>
                    <a:pt x="265571" y="458737"/>
                    <a:pt x="260367" y="465621"/>
                  </a:cubicBezTo>
                  <a:cubicBezTo>
                    <a:pt x="258101" y="468643"/>
                    <a:pt x="255247" y="472420"/>
                    <a:pt x="251135" y="476450"/>
                  </a:cubicBezTo>
                  <a:cubicBezTo>
                    <a:pt x="244084" y="483250"/>
                    <a:pt x="234851" y="486775"/>
                    <a:pt x="224695" y="486775"/>
                  </a:cubicBezTo>
                  <a:cubicBezTo>
                    <a:pt x="220414" y="486775"/>
                    <a:pt x="215966" y="486104"/>
                    <a:pt x="211433" y="484845"/>
                  </a:cubicBezTo>
                  <a:cubicBezTo>
                    <a:pt x="196828" y="480647"/>
                    <a:pt x="186168" y="468559"/>
                    <a:pt x="175844" y="456974"/>
                  </a:cubicBezTo>
                  <a:cubicBezTo>
                    <a:pt x="172151" y="452777"/>
                    <a:pt x="168542" y="448747"/>
                    <a:pt x="164849" y="445137"/>
                  </a:cubicBezTo>
                  <a:lnTo>
                    <a:pt x="0" y="627891"/>
                  </a:lnTo>
                  <a:cubicBezTo>
                    <a:pt x="294696" y="595655"/>
                    <a:pt x="666865" y="543440"/>
                    <a:pt x="1089731" y="458989"/>
                  </a:cubicBezTo>
                  <a:lnTo>
                    <a:pt x="1090570" y="463102"/>
                  </a:lnTo>
                  <a:cubicBezTo>
                    <a:pt x="1087968" y="454791"/>
                    <a:pt x="1090319" y="447236"/>
                    <a:pt x="1088556" y="438925"/>
                  </a:cubicBezTo>
                  <a:cubicBezTo>
                    <a:pt x="1080918" y="403163"/>
                    <a:pt x="1065138" y="400225"/>
                    <a:pt x="1032487" y="390991"/>
                  </a:cubicBezTo>
                  <a:cubicBezTo>
                    <a:pt x="1013434" y="385618"/>
                    <a:pt x="985316" y="373614"/>
                    <a:pt x="984980" y="350444"/>
                  </a:cubicBezTo>
                  <a:cubicBezTo>
                    <a:pt x="984644" y="330045"/>
                    <a:pt x="1003445" y="318628"/>
                    <a:pt x="1007475" y="298229"/>
                  </a:cubicBezTo>
                  <a:cubicBezTo>
                    <a:pt x="1010161" y="284797"/>
                    <a:pt x="1005712" y="269603"/>
                    <a:pt x="1004621" y="257262"/>
                  </a:cubicBezTo>
                  <a:cubicBezTo>
                    <a:pt x="1003529" y="245090"/>
                    <a:pt x="1008985" y="238458"/>
                    <a:pt x="1005880" y="213778"/>
                  </a:cubicBezTo>
                  <a:cubicBezTo>
                    <a:pt x="996479" y="208237"/>
                    <a:pt x="983049" y="204207"/>
                    <a:pt x="969871" y="200262"/>
                  </a:cubicBezTo>
                  <a:cubicBezTo>
                    <a:pt x="959463" y="197156"/>
                    <a:pt x="949643" y="194302"/>
                    <a:pt x="941502" y="19060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5D880210-F2A8-6D37-DC27-9D1C3DD88FB7}"/>
                </a:ext>
              </a:extLst>
            </p:cNvPr>
            <p:cNvSpPr/>
            <p:nvPr/>
          </p:nvSpPr>
          <p:spPr>
            <a:xfrm>
              <a:off x="7397871" y="2749334"/>
              <a:ext cx="932842" cy="588177"/>
            </a:xfrm>
            <a:custGeom>
              <a:avLst/>
              <a:gdLst>
                <a:gd name="connsiteX0" fmla="*/ 137822 w 1032765"/>
                <a:gd name="connsiteY0" fmla="*/ 557916 h 651181"/>
                <a:gd name="connsiteX1" fmla="*/ 596276 w 1032765"/>
                <a:gd name="connsiteY1" fmla="*/ 577308 h 651181"/>
                <a:gd name="connsiteX2" fmla="*/ 650246 w 1032765"/>
                <a:gd name="connsiteY2" fmla="*/ 578651 h 651181"/>
                <a:gd name="connsiteX3" fmla="*/ 705727 w 1032765"/>
                <a:gd name="connsiteY3" fmla="*/ 579994 h 651181"/>
                <a:gd name="connsiteX4" fmla="*/ 787732 w 1032765"/>
                <a:gd name="connsiteY4" fmla="*/ 615840 h 651181"/>
                <a:gd name="connsiteX5" fmla="*/ 840360 w 1032765"/>
                <a:gd name="connsiteY5" fmla="*/ 622556 h 651181"/>
                <a:gd name="connsiteX6" fmla="*/ 865624 w 1032765"/>
                <a:gd name="connsiteY6" fmla="*/ 617855 h 651181"/>
                <a:gd name="connsiteX7" fmla="*/ 911201 w 1032765"/>
                <a:gd name="connsiteY7" fmla="*/ 615000 h 651181"/>
                <a:gd name="connsiteX8" fmla="*/ 953756 w 1032765"/>
                <a:gd name="connsiteY8" fmla="*/ 628768 h 651181"/>
                <a:gd name="connsiteX9" fmla="*/ 955686 w 1032765"/>
                <a:gd name="connsiteY9" fmla="*/ 629943 h 651181"/>
                <a:gd name="connsiteX10" fmla="*/ 972809 w 1032765"/>
                <a:gd name="connsiteY10" fmla="*/ 637582 h 651181"/>
                <a:gd name="connsiteX11" fmla="*/ 994297 w 1032765"/>
                <a:gd name="connsiteY11" fmla="*/ 647908 h 651181"/>
                <a:gd name="connsiteX12" fmla="*/ 998661 w 1032765"/>
                <a:gd name="connsiteY12" fmla="*/ 651182 h 651181"/>
                <a:gd name="connsiteX13" fmla="*/ 1001851 w 1032765"/>
                <a:gd name="connsiteY13" fmla="*/ 638422 h 651181"/>
                <a:gd name="connsiteX14" fmla="*/ 1004621 w 1032765"/>
                <a:gd name="connsiteY14" fmla="*/ 625746 h 651181"/>
                <a:gd name="connsiteX15" fmla="*/ 1014609 w 1032765"/>
                <a:gd name="connsiteY15" fmla="*/ 603835 h 651181"/>
                <a:gd name="connsiteX16" fmla="*/ 1023170 w 1032765"/>
                <a:gd name="connsiteY16" fmla="*/ 585787 h 651181"/>
                <a:gd name="connsiteX17" fmla="*/ 1014525 w 1032765"/>
                <a:gd name="connsiteY17" fmla="*/ 550948 h 651181"/>
                <a:gd name="connsiteX18" fmla="*/ 1005208 w 1032765"/>
                <a:gd name="connsiteY18" fmla="*/ 514515 h 651181"/>
                <a:gd name="connsiteX19" fmla="*/ 1017631 w 1032765"/>
                <a:gd name="connsiteY19" fmla="*/ 499321 h 651181"/>
                <a:gd name="connsiteX20" fmla="*/ 1028458 w 1032765"/>
                <a:gd name="connsiteY20" fmla="*/ 487064 h 651181"/>
                <a:gd name="connsiteX21" fmla="*/ 1028794 w 1032765"/>
                <a:gd name="connsiteY21" fmla="*/ 463811 h 651181"/>
                <a:gd name="connsiteX22" fmla="*/ 1028123 w 1032765"/>
                <a:gd name="connsiteY22" fmla="*/ 452646 h 651181"/>
                <a:gd name="connsiteX23" fmla="*/ 1028123 w 1032765"/>
                <a:gd name="connsiteY23" fmla="*/ 381374 h 651181"/>
                <a:gd name="connsiteX24" fmla="*/ 1030305 w 1032765"/>
                <a:gd name="connsiteY24" fmla="*/ 326221 h 651181"/>
                <a:gd name="connsiteX25" fmla="*/ 1005544 w 1032765"/>
                <a:gd name="connsiteY25" fmla="*/ 145062 h 651181"/>
                <a:gd name="connsiteX26" fmla="*/ 992618 w 1032765"/>
                <a:gd name="connsiteY26" fmla="*/ 132385 h 651181"/>
                <a:gd name="connsiteX27" fmla="*/ 977342 w 1032765"/>
                <a:gd name="connsiteY27" fmla="*/ 98638 h 651181"/>
                <a:gd name="connsiteX28" fmla="*/ 995388 w 1032765"/>
                <a:gd name="connsiteY28" fmla="*/ 64975 h 651181"/>
                <a:gd name="connsiteX29" fmla="*/ 1006887 w 1032765"/>
                <a:gd name="connsiteY29" fmla="*/ 47430 h 651181"/>
                <a:gd name="connsiteX30" fmla="*/ 42807 w 1032765"/>
                <a:gd name="connsiteY30" fmla="*/ 0 h 651181"/>
                <a:gd name="connsiteX31" fmla="*/ 0 w 1032765"/>
                <a:gd name="connsiteY31" fmla="*/ 547507 h 651181"/>
                <a:gd name="connsiteX32" fmla="*/ 137990 w 1032765"/>
                <a:gd name="connsiteY32" fmla="*/ 557916 h 651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32765" h="651181">
                  <a:moveTo>
                    <a:pt x="137822" y="557916"/>
                  </a:moveTo>
                  <a:cubicBezTo>
                    <a:pt x="270607" y="566311"/>
                    <a:pt x="416319" y="572439"/>
                    <a:pt x="596276" y="577308"/>
                  </a:cubicBezTo>
                  <a:cubicBezTo>
                    <a:pt x="614238" y="577812"/>
                    <a:pt x="632284" y="578231"/>
                    <a:pt x="650246" y="578651"/>
                  </a:cubicBezTo>
                  <a:cubicBezTo>
                    <a:pt x="668712" y="579071"/>
                    <a:pt x="687178" y="579491"/>
                    <a:pt x="705727" y="579994"/>
                  </a:cubicBezTo>
                  <a:cubicBezTo>
                    <a:pt x="740309" y="580918"/>
                    <a:pt x="763307" y="597875"/>
                    <a:pt x="787732" y="615840"/>
                  </a:cubicBezTo>
                  <a:cubicBezTo>
                    <a:pt x="807457" y="630363"/>
                    <a:pt x="821306" y="627089"/>
                    <a:pt x="840360" y="622556"/>
                  </a:cubicBezTo>
                  <a:cubicBezTo>
                    <a:pt x="847830" y="620793"/>
                    <a:pt x="856223" y="618778"/>
                    <a:pt x="865624" y="617855"/>
                  </a:cubicBezTo>
                  <a:cubicBezTo>
                    <a:pt x="879893" y="616428"/>
                    <a:pt x="895085" y="615000"/>
                    <a:pt x="911201" y="615000"/>
                  </a:cubicBezTo>
                  <a:cubicBezTo>
                    <a:pt x="930925" y="615000"/>
                    <a:pt x="939067" y="619869"/>
                    <a:pt x="953756" y="628768"/>
                  </a:cubicBezTo>
                  <a:lnTo>
                    <a:pt x="955686" y="629943"/>
                  </a:lnTo>
                  <a:cubicBezTo>
                    <a:pt x="961394" y="633385"/>
                    <a:pt x="966934" y="635400"/>
                    <a:pt x="972809" y="637582"/>
                  </a:cubicBezTo>
                  <a:cubicBezTo>
                    <a:pt x="979860" y="640185"/>
                    <a:pt x="987078" y="642787"/>
                    <a:pt x="994297" y="647908"/>
                  </a:cubicBezTo>
                  <a:cubicBezTo>
                    <a:pt x="995807" y="648999"/>
                    <a:pt x="997318" y="650091"/>
                    <a:pt x="998661" y="651182"/>
                  </a:cubicBezTo>
                  <a:cubicBezTo>
                    <a:pt x="1000256" y="646649"/>
                    <a:pt x="1001011" y="642871"/>
                    <a:pt x="1001851" y="638422"/>
                  </a:cubicBezTo>
                  <a:cubicBezTo>
                    <a:pt x="1002522" y="634812"/>
                    <a:pt x="1003194" y="630783"/>
                    <a:pt x="1004621" y="625746"/>
                  </a:cubicBezTo>
                  <a:cubicBezTo>
                    <a:pt x="1006803" y="617687"/>
                    <a:pt x="1010748" y="610635"/>
                    <a:pt x="1014609" y="603835"/>
                  </a:cubicBezTo>
                  <a:cubicBezTo>
                    <a:pt x="1018050" y="597707"/>
                    <a:pt x="1021240" y="591999"/>
                    <a:pt x="1023170" y="585787"/>
                  </a:cubicBezTo>
                  <a:cubicBezTo>
                    <a:pt x="1027451" y="571767"/>
                    <a:pt x="1021156" y="561610"/>
                    <a:pt x="1014525" y="550948"/>
                  </a:cubicBezTo>
                  <a:cubicBezTo>
                    <a:pt x="1007894" y="540287"/>
                    <a:pt x="1001011" y="529206"/>
                    <a:pt x="1005208" y="514515"/>
                  </a:cubicBezTo>
                  <a:cubicBezTo>
                    <a:pt x="1007139" y="507715"/>
                    <a:pt x="1012427" y="503434"/>
                    <a:pt x="1017631" y="499321"/>
                  </a:cubicBezTo>
                  <a:cubicBezTo>
                    <a:pt x="1022247" y="495627"/>
                    <a:pt x="1026612" y="492101"/>
                    <a:pt x="1028458" y="487064"/>
                  </a:cubicBezTo>
                  <a:cubicBezTo>
                    <a:pt x="1030305" y="481859"/>
                    <a:pt x="1029466" y="471870"/>
                    <a:pt x="1028794" y="463811"/>
                  </a:cubicBezTo>
                  <a:cubicBezTo>
                    <a:pt x="1028458" y="459613"/>
                    <a:pt x="1028123" y="455752"/>
                    <a:pt x="1028123" y="452646"/>
                  </a:cubicBezTo>
                  <a:lnTo>
                    <a:pt x="1028123" y="381374"/>
                  </a:lnTo>
                  <a:cubicBezTo>
                    <a:pt x="1028123" y="364417"/>
                    <a:pt x="1029214" y="345864"/>
                    <a:pt x="1030305" y="326221"/>
                  </a:cubicBezTo>
                  <a:cubicBezTo>
                    <a:pt x="1033998" y="262001"/>
                    <a:pt x="1038111" y="189134"/>
                    <a:pt x="1005544" y="145062"/>
                  </a:cubicBezTo>
                  <a:cubicBezTo>
                    <a:pt x="1001767" y="139941"/>
                    <a:pt x="997066" y="136079"/>
                    <a:pt x="992618" y="132385"/>
                  </a:cubicBezTo>
                  <a:cubicBezTo>
                    <a:pt x="983133" y="124578"/>
                    <a:pt x="973313" y="116435"/>
                    <a:pt x="977342" y="98638"/>
                  </a:cubicBezTo>
                  <a:cubicBezTo>
                    <a:pt x="980112" y="86466"/>
                    <a:pt x="987917" y="75553"/>
                    <a:pt x="995388" y="64975"/>
                  </a:cubicBezTo>
                  <a:cubicBezTo>
                    <a:pt x="999668" y="58931"/>
                    <a:pt x="1003781" y="53223"/>
                    <a:pt x="1006887" y="47430"/>
                  </a:cubicBezTo>
                  <a:cubicBezTo>
                    <a:pt x="375106" y="29969"/>
                    <a:pt x="80830" y="3610"/>
                    <a:pt x="42807" y="0"/>
                  </a:cubicBezTo>
                  <a:lnTo>
                    <a:pt x="0" y="547507"/>
                  </a:lnTo>
                  <a:cubicBezTo>
                    <a:pt x="47927" y="552292"/>
                    <a:pt x="97701" y="555398"/>
                    <a:pt x="137990" y="55791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952B55C-686B-2686-A7AD-D349C96182B2}"/>
                </a:ext>
              </a:extLst>
            </p:cNvPr>
            <p:cNvSpPr/>
            <p:nvPr/>
          </p:nvSpPr>
          <p:spPr>
            <a:xfrm>
              <a:off x="11386001" y="3059149"/>
              <a:ext cx="93178" cy="126864"/>
            </a:xfrm>
            <a:custGeom>
              <a:avLst/>
              <a:gdLst>
                <a:gd name="connsiteX0" fmla="*/ 93927 w 103159"/>
                <a:gd name="connsiteY0" fmla="*/ 69518 h 140453"/>
                <a:gd name="connsiteX1" fmla="*/ 92500 w 103159"/>
                <a:gd name="connsiteY1" fmla="*/ 66915 h 140453"/>
                <a:gd name="connsiteX2" fmla="*/ 84191 w 103159"/>
                <a:gd name="connsiteY2" fmla="*/ 51637 h 140453"/>
                <a:gd name="connsiteX3" fmla="*/ 70509 w 103159"/>
                <a:gd name="connsiteY3" fmla="*/ 26621 h 140453"/>
                <a:gd name="connsiteX4" fmla="*/ 46755 w 103159"/>
                <a:gd name="connsiteY4" fmla="*/ 1184 h 140453"/>
                <a:gd name="connsiteX5" fmla="*/ 8816 w 103159"/>
                <a:gd name="connsiteY5" fmla="*/ 5046 h 140453"/>
                <a:gd name="connsiteX6" fmla="*/ 1682 w 103159"/>
                <a:gd name="connsiteY6" fmla="*/ 32749 h 140453"/>
                <a:gd name="connsiteX7" fmla="*/ 24848 w 103159"/>
                <a:gd name="connsiteY7" fmla="*/ 139614 h 140453"/>
                <a:gd name="connsiteX8" fmla="*/ 20819 w 103159"/>
                <a:gd name="connsiteY8" fmla="*/ 140454 h 140453"/>
                <a:gd name="connsiteX9" fmla="*/ 70929 w 103159"/>
                <a:gd name="connsiteY9" fmla="*/ 119299 h 140453"/>
                <a:gd name="connsiteX10" fmla="*/ 93507 w 103159"/>
                <a:gd name="connsiteY10" fmla="*/ 86223 h 140453"/>
                <a:gd name="connsiteX11" fmla="*/ 103160 w 103159"/>
                <a:gd name="connsiteY11" fmla="*/ 82949 h 140453"/>
                <a:gd name="connsiteX12" fmla="*/ 93843 w 103159"/>
                <a:gd name="connsiteY12" fmla="*/ 69518 h 14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3159" h="140453">
                  <a:moveTo>
                    <a:pt x="93927" y="69518"/>
                  </a:moveTo>
                  <a:lnTo>
                    <a:pt x="92500" y="66915"/>
                  </a:lnTo>
                  <a:cubicBezTo>
                    <a:pt x="89730" y="61963"/>
                    <a:pt x="87044" y="56758"/>
                    <a:pt x="84191" y="51637"/>
                  </a:cubicBezTo>
                  <a:cubicBezTo>
                    <a:pt x="79742" y="43326"/>
                    <a:pt x="75210" y="34847"/>
                    <a:pt x="70509" y="26621"/>
                  </a:cubicBezTo>
                  <a:cubicBezTo>
                    <a:pt x="65892" y="18561"/>
                    <a:pt x="57247" y="3451"/>
                    <a:pt x="46755" y="1184"/>
                  </a:cubicBezTo>
                  <a:cubicBezTo>
                    <a:pt x="34837" y="-1334"/>
                    <a:pt x="18889" y="261"/>
                    <a:pt x="8816" y="5046"/>
                  </a:cubicBezTo>
                  <a:cubicBezTo>
                    <a:pt x="-1339" y="9831"/>
                    <a:pt x="-1172" y="18897"/>
                    <a:pt x="1682" y="32749"/>
                  </a:cubicBezTo>
                  <a:lnTo>
                    <a:pt x="24848" y="139614"/>
                  </a:lnTo>
                  <a:lnTo>
                    <a:pt x="20819" y="140454"/>
                  </a:lnTo>
                  <a:cubicBezTo>
                    <a:pt x="39453" y="137767"/>
                    <a:pt x="58170" y="136004"/>
                    <a:pt x="70929" y="119299"/>
                  </a:cubicBezTo>
                  <a:cubicBezTo>
                    <a:pt x="79406" y="108302"/>
                    <a:pt x="81505" y="93359"/>
                    <a:pt x="93507" y="86223"/>
                  </a:cubicBezTo>
                  <a:cubicBezTo>
                    <a:pt x="97032" y="84125"/>
                    <a:pt x="100222" y="83117"/>
                    <a:pt x="103160" y="82949"/>
                  </a:cubicBezTo>
                  <a:cubicBezTo>
                    <a:pt x="99131" y="79256"/>
                    <a:pt x="96277" y="73967"/>
                    <a:pt x="93843" y="6951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CCF72448-15B6-D600-D87E-A10240286260}"/>
                </a:ext>
              </a:extLst>
            </p:cNvPr>
            <p:cNvSpPr/>
            <p:nvPr/>
          </p:nvSpPr>
          <p:spPr>
            <a:xfrm>
              <a:off x="11168588" y="2898407"/>
              <a:ext cx="451803" cy="254462"/>
            </a:xfrm>
            <a:custGeom>
              <a:avLst/>
              <a:gdLst>
                <a:gd name="connsiteX0" fmla="*/ 8876 w 500199"/>
                <a:gd name="connsiteY0" fmla="*/ 111986 h 281719"/>
                <a:gd name="connsiteX1" fmla="*/ 11310 w 500199"/>
                <a:gd name="connsiteY1" fmla="*/ 131798 h 281719"/>
                <a:gd name="connsiteX2" fmla="*/ 5687 w 500199"/>
                <a:gd name="connsiteY2" fmla="*/ 190729 h 281719"/>
                <a:gd name="connsiteX3" fmla="*/ 818 w 500199"/>
                <a:gd name="connsiteY3" fmla="*/ 218851 h 281719"/>
                <a:gd name="connsiteX4" fmla="*/ 399 w 500199"/>
                <a:gd name="connsiteY4" fmla="*/ 242609 h 281719"/>
                <a:gd name="connsiteX5" fmla="*/ 233319 w 500199"/>
                <a:gd name="connsiteY5" fmla="*/ 189890 h 281719"/>
                <a:gd name="connsiteX6" fmla="*/ 245909 w 500199"/>
                <a:gd name="connsiteY6" fmla="*/ 175451 h 281719"/>
                <a:gd name="connsiteX7" fmla="*/ 289220 w 500199"/>
                <a:gd name="connsiteY7" fmla="*/ 170917 h 281719"/>
                <a:gd name="connsiteX8" fmla="*/ 318513 w 500199"/>
                <a:gd name="connsiteY8" fmla="*/ 200383 h 281719"/>
                <a:gd name="connsiteX9" fmla="*/ 332362 w 500199"/>
                <a:gd name="connsiteY9" fmla="*/ 225651 h 281719"/>
                <a:gd name="connsiteX10" fmla="*/ 340588 w 500199"/>
                <a:gd name="connsiteY10" fmla="*/ 240846 h 281719"/>
                <a:gd name="connsiteX11" fmla="*/ 342099 w 500199"/>
                <a:gd name="connsiteY11" fmla="*/ 243616 h 281719"/>
                <a:gd name="connsiteX12" fmla="*/ 350996 w 500199"/>
                <a:gd name="connsiteY12" fmla="*/ 256124 h 281719"/>
                <a:gd name="connsiteX13" fmla="*/ 360985 w 500199"/>
                <a:gd name="connsiteY13" fmla="*/ 264855 h 281719"/>
                <a:gd name="connsiteX14" fmla="*/ 366104 w 500199"/>
                <a:gd name="connsiteY14" fmla="*/ 269640 h 281719"/>
                <a:gd name="connsiteX15" fmla="*/ 370133 w 500199"/>
                <a:gd name="connsiteY15" fmla="*/ 271822 h 281719"/>
                <a:gd name="connsiteX16" fmla="*/ 408995 w 500199"/>
                <a:gd name="connsiteY16" fmla="*/ 270983 h 281719"/>
                <a:gd name="connsiteX17" fmla="*/ 393048 w 500199"/>
                <a:gd name="connsiteY17" fmla="*/ 244959 h 281719"/>
                <a:gd name="connsiteX18" fmla="*/ 405806 w 500199"/>
                <a:gd name="connsiteY18" fmla="*/ 224812 h 281719"/>
                <a:gd name="connsiteX19" fmla="*/ 420243 w 500199"/>
                <a:gd name="connsiteY19" fmla="*/ 232199 h 281719"/>
                <a:gd name="connsiteX20" fmla="*/ 434260 w 500199"/>
                <a:gd name="connsiteY20" fmla="*/ 232367 h 281719"/>
                <a:gd name="connsiteX21" fmla="*/ 461455 w 500199"/>
                <a:gd name="connsiteY21" fmla="*/ 213731 h 281719"/>
                <a:gd name="connsiteX22" fmla="*/ 499310 w 500199"/>
                <a:gd name="connsiteY22" fmla="*/ 154380 h 281719"/>
                <a:gd name="connsiteX23" fmla="*/ 473878 w 500199"/>
                <a:gd name="connsiteY23" fmla="*/ 135827 h 281719"/>
                <a:gd name="connsiteX24" fmla="*/ 461539 w 500199"/>
                <a:gd name="connsiteY24" fmla="*/ 155471 h 281719"/>
                <a:gd name="connsiteX25" fmla="*/ 455244 w 500199"/>
                <a:gd name="connsiteY25" fmla="*/ 184937 h 281719"/>
                <a:gd name="connsiteX26" fmla="*/ 418564 w 500199"/>
                <a:gd name="connsiteY26" fmla="*/ 189218 h 281719"/>
                <a:gd name="connsiteX27" fmla="*/ 398671 w 500199"/>
                <a:gd name="connsiteY27" fmla="*/ 163446 h 281719"/>
                <a:gd name="connsiteX28" fmla="*/ 366357 w 500199"/>
                <a:gd name="connsiteY28" fmla="*/ 134316 h 281719"/>
                <a:gd name="connsiteX29" fmla="*/ 333286 w 500199"/>
                <a:gd name="connsiteY29" fmla="*/ 100989 h 281719"/>
                <a:gd name="connsiteX30" fmla="*/ 352507 w 500199"/>
                <a:gd name="connsiteY30" fmla="*/ 70264 h 281719"/>
                <a:gd name="connsiteX31" fmla="*/ 347807 w 500199"/>
                <a:gd name="connsiteY31" fmla="*/ 31229 h 281719"/>
                <a:gd name="connsiteX32" fmla="*/ 328166 w 500199"/>
                <a:gd name="connsiteY32" fmla="*/ 0 h 281719"/>
                <a:gd name="connsiteX33" fmla="*/ 258836 w 500199"/>
                <a:gd name="connsiteY33" fmla="*/ 55573 h 281719"/>
                <a:gd name="connsiteX34" fmla="*/ 9044 w 500199"/>
                <a:gd name="connsiteY34" fmla="*/ 112070 h 281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00199" h="281719">
                  <a:moveTo>
                    <a:pt x="8876" y="111986"/>
                  </a:moveTo>
                  <a:cubicBezTo>
                    <a:pt x="9799" y="118618"/>
                    <a:pt x="10639" y="125250"/>
                    <a:pt x="11310" y="131798"/>
                  </a:cubicBezTo>
                  <a:cubicBezTo>
                    <a:pt x="13409" y="152617"/>
                    <a:pt x="9464" y="172009"/>
                    <a:pt x="5687" y="190729"/>
                  </a:cubicBezTo>
                  <a:cubicBezTo>
                    <a:pt x="3840" y="199879"/>
                    <a:pt x="1910" y="209449"/>
                    <a:pt x="818" y="218851"/>
                  </a:cubicBezTo>
                  <a:cubicBezTo>
                    <a:pt x="-189" y="227414"/>
                    <a:pt x="-189" y="235053"/>
                    <a:pt x="399" y="242609"/>
                  </a:cubicBezTo>
                  <a:lnTo>
                    <a:pt x="233319" y="189890"/>
                  </a:lnTo>
                  <a:cubicBezTo>
                    <a:pt x="234914" y="184097"/>
                    <a:pt x="238523" y="178976"/>
                    <a:pt x="245909" y="175451"/>
                  </a:cubicBezTo>
                  <a:cubicBezTo>
                    <a:pt x="257660" y="169910"/>
                    <a:pt x="275455" y="168063"/>
                    <a:pt x="289220" y="170917"/>
                  </a:cubicBezTo>
                  <a:cubicBezTo>
                    <a:pt x="302314" y="173688"/>
                    <a:pt x="311211" y="187539"/>
                    <a:pt x="318513" y="200383"/>
                  </a:cubicBezTo>
                  <a:cubicBezTo>
                    <a:pt x="323298" y="208694"/>
                    <a:pt x="327830" y="217256"/>
                    <a:pt x="332362" y="225651"/>
                  </a:cubicBezTo>
                  <a:cubicBezTo>
                    <a:pt x="335132" y="230856"/>
                    <a:pt x="337818" y="235893"/>
                    <a:pt x="340588" y="240846"/>
                  </a:cubicBezTo>
                  <a:lnTo>
                    <a:pt x="342099" y="243616"/>
                  </a:lnTo>
                  <a:cubicBezTo>
                    <a:pt x="344449" y="248149"/>
                    <a:pt x="347471" y="253690"/>
                    <a:pt x="350996" y="256124"/>
                  </a:cubicBezTo>
                  <a:cubicBezTo>
                    <a:pt x="353766" y="257971"/>
                    <a:pt x="357459" y="261497"/>
                    <a:pt x="360985" y="264855"/>
                  </a:cubicBezTo>
                  <a:cubicBezTo>
                    <a:pt x="362747" y="266534"/>
                    <a:pt x="364510" y="268213"/>
                    <a:pt x="366104" y="269640"/>
                  </a:cubicBezTo>
                  <a:cubicBezTo>
                    <a:pt x="367447" y="270395"/>
                    <a:pt x="368706" y="271067"/>
                    <a:pt x="370133" y="271822"/>
                  </a:cubicBezTo>
                  <a:cubicBezTo>
                    <a:pt x="380625" y="276943"/>
                    <a:pt x="408995" y="291718"/>
                    <a:pt x="408995" y="270983"/>
                  </a:cubicBezTo>
                  <a:cubicBezTo>
                    <a:pt x="408995" y="257132"/>
                    <a:pt x="399259" y="254193"/>
                    <a:pt x="393048" y="244959"/>
                  </a:cubicBezTo>
                  <a:cubicBezTo>
                    <a:pt x="388179" y="237740"/>
                    <a:pt x="395146" y="224980"/>
                    <a:pt x="405806" y="224812"/>
                  </a:cubicBezTo>
                  <a:cubicBezTo>
                    <a:pt x="412437" y="224644"/>
                    <a:pt x="414871" y="230352"/>
                    <a:pt x="420243" y="232199"/>
                  </a:cubicBezTo>
                  <a:cubicBezTo>
                    <a:pt x="424859" y="233794"/>
                    <a:pt x="429391" y="233123"/>
                    <a:pt x="434260" y="232367"/>
                  </a:cubicBezTo>
                  <a:cubicBezTo>
                    <a:pt x="446850" y="230352"/>
                    <a:pt x="453313" y="223469"/>
                    <a:pt x="461455" y="213731"/>
                  </a:cubicBezTo>
                  <a:cubicBezTo>
                    <a:pt x="477738" y="194339"/>
                    <a:pt x="505521" y="183761"/>
                    <a:pt x="499310" y="154380"/>
                  </a:cubicBezTo>
                  <a:cubicBezTo>
                    <a:pt x="496624" y="141788"/>
                    <a:pt x="488063" y="133393"/>
                    <a:pt x="473878" y="135827"/>
                  </a:cubicBezTo>
                  <a:cubicBezTo>
                    <a:pt x="461707" y="137842"/>
                    <a:pt x="460951" y="144222"/>
                    <a:pt x="461539" y="155471"/>
                  </a:cubicBezTo>
                  <a:cubicBezTo>
                    <a:pt x="462126" y="167308"/>
                    <a:pt x="466743" y="179564"/>
                    <a:pt x="455244" y="184937"/>
                  </a:cubicBezTo>
                  <a:cubicBezTo>
                    <a:pt x="446934" y="188798"/>
                    <a:pt x="428133" y="191736"/>
                    <a:pt x="418564" y="189218"/>
                  </a:cubicBezTo>
                  <a:cubicBezTo>
                    <a:pt x="405386" y="185776"/>
                    <a:pt x="404799" y="173016"/>
                    <a:pt x="398671" y="163446"/>
                  </a:cubicBezTo>
                  <a:cubicBezTo>
                    <a:pt x="390529" y="150770"/>
                    <a:pt x="379954" y="140948"/>
                    <a:pt x="366357" y="134316"/>
                  </a:cubicBezTo>
                  <a:cubicBezTo>
                    <a:pt x="347387" y="124998"/>
                    <a:pt x="319269" y="132134"/>
                    <a:pt x="333286" y="100989"/>
                  </a:cubicBezTo>
                  <a:cubicBezTo>
                    <a:pt x="338238" y="89992"/>
                    <a:pt x="350325" y="81681"/>
                    <a:pt x="352507" y="70264"/>
                  </a:cubicBezTo>
                  <a:cubicBezTo>
                    <a:pt x="354689" y="58847"/>
                    <a:pt x="352507" y="41050"/>
                    <a:pt x="347807" y="31229"/>
                  </a:cubicBezTo>
                  <a:cubicBezTo>
                    <a:pt x="342015" y="19308"/>
                    <a:pt x="333034" y="10326"/>
                    <a:pt x="328166" y="0"/>
                  </a:cubicBezTo>
                  <a:cubicBezTo>
                    <a:pt x="313057" y="13767"/>
                    <a:pt x="275371" y="47598"/>
                    <a:pt x="258836" y="55573"/>
                  </a:cubicBezTo>
                  <a:cubicBezTo>
                    <a:pt x="204697" y="81933"/>
                    <a:pt x="38002" y="107705"/>
                    <a:pt x="9044" y="112070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D51414FF-8C9A-C15F-3B6F-FDFB8FB43DB8}"/>
                </a:ext>
              </a:extLst>
            </p:cNvPr>
            <p:cNvSpPr/>
            <p:nvPr/>
          </p:nvSpPr>
          <p:spPr>
            <a:xfrm>
              <a:off x="11169857" y="3078038"/>
              <a:ext cx="231233" cy="214889"/>
            </a:xfrm>
            <a:custGeom>
              <a:avLst/>
              <a:gdLst>
                <a:gd name="connsiteX0" fmla="*/ 233843 w 256002"/>
                <a:gd name="connsiteY0" fmla="*/ 18301 h 237907"/>
                <a:gd name="connsiteX1" fmla="*/ 232501 w 256002"/>
                <a:gd name="connsiteY1" fmla="*/ 11837 h 237907"/>
                <a:gd name="connsiteX2" fmla="*/ 229899 w 256002"/>
                <a:gd name="connsiteY2" fmla="*/ 0 h 237907"/>
                <a:gd name="connsiteX3" fmla="*/ 0 w 256002"/>
                <a:gd name="connsiteY3" fmla="*/ 52048 h 237907"/>
                <a:gd name="connsiteX4" fmla="*/ 9737 w 256002"/>
                <a:gd name="connsiteY4" fmla="*/ 90412 h 237907"/>
                <a:gd name="connsiteX5" fmla="*/ 10156 w 256002"/>
                <a:gd name="connsiteY5" fmla="*/ 91839 h 237907"/>
                <a:gd name="connsiteX6" fmla="*/ 23250 w 256002"/>
                <a:gd name="connsiteY6" fmla="*/ 123487 h 237907"/>
                <a:gd name="connsiteX7" fmla="*/ 41044 w 256002"/>
                <a:gd name="connsiteY7" fmla="*/ 172429 h 237907"/>
                <a:gd name="connsiteX8" fmla="*/ 40289 w 256002"/>
                <a:gd name="connsiteY8" fmla="*/ 211884 h 237907"/>
                <a:gd name="connsiteX9" fmla="*/ 38862 w 256002"/>
                <a:gd name="connsiteY9" fmla="*/ 237908 h 237907"/>
                <a:gd name="connsiteX10" fmla="*/ 67736 w 256002"/>
                <a:gd name="connsiteY10" fmla="*/ 213479 h 237907"/>
                <a:gd name="connsiteX11" fmla="*/ 110123 w 256002"/>
                <a:gd name="connsiteY11" fmla="*/ 184097 h 237907"/>
                <a:gd name="connsiteX12" fmla="*/ 155029 w 256002"/>
                <a:gd name="connsiteY12" fmla="*/ 165713 h 237907"/>
                <a:gd name="connsiteX13" fmla="*/ 199430 w 256002"/>
                <a:gd name="connsiteY13" fmla="*/ 155975 h 237907"/>
                <a:gd name="connsiteX14" fmla="*/ 235858 w 256002"/>
                <a:gd name="connsiteY14" fmla="*/ 125082 h 237907"/>
                <a:gd name="connsiteX15" fmla="*/ 256002 w 256002"/>
                <a:gd name="connsiteY15" fmla="*/ 120213 h 237907"/>
                <a:gd name="connsiteX16" fmla="*/ 234683 w 256002"/>
                <a:gd name="connsiteY16" fmla="*/ 21743 h 237907"/>
                <a:gd name="connsiteX17" fmla="*/ 233927 w 256002"/>
                <a:gd name="connsiteY17" fmla="*/ 18385 h 23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6002" h="237907">
                  <a:moveTo>
                    <a:pt x="233843" y="18301"/>
                  </a:moveTo>
                  <a:cubicBezTo>
                    <a:pt x="233340" y="16202"/>
                    <a:pt x="232920" y="14019"/>
                    <a:pt x="232501" y="11837"/>
                  </a:cubicBezTo>
                  <a:lnTo>
                    <a:pt x="229899" y="0"/>
                  </a:lnTo>
                  <a:lnTo>
                    <a:pt x="0" y="52048"/>
                  </a:lnTo>
                  <a:cubicBezTo>
                    <a:pt x="1931" y="64220"/>
                    <a:pt x="5456" y="76224"/>
                    <a:pt x="9737" y="90412"/>
                  </a:cubicBezTo>
                  <a:lnTo>
                    <a:pt x="10156" y="91839"/>
                  </a:lnTo>
                  <a:cubicBezTo>
                    <a:pt x="13178" y="101745"/>
                    <a:pt x="18046" y="112322"/>
                    <a:pt x="23250" y="123487"/>
                  </a:cubicBezTo>
                  <a:cubicBezTo>
                    <a:pt x="30721" y="139521"/>
                    <a:pt x="38358" y="156143"/>
                    <a:pt x="41044" y="172429"/>
                  </a:cubicBezTo>
                  <a:cubicBezTo>
                    <a:pt x="42807" y="183342"/>
                    <a:pt x="41548" y="197865"/>
                    <a:pt x="40289" y="211884"/>
                  </a:cubicBezTo>
                  <a:cubicBezTo>
                    <a:pt x="39534" y="220195"/>
                    <a:pt x="38694" y="230185"/>
                    <a:pt x="38862" y="237908"/>
                  </a:cubicBezTo>
                  <a:cubicBezTo>
                    <a:pt x="47340" y="228673"/>
                    <a:pt x="63035" y="218180"/>
                    <a:pt x="67736" y="213479"/>
                  </a:cubicBezTo>
                  <a:cubicBezTo>
                    <a:pt x="80326" y="201055"/>
                    <a:pt x="95267" y="194423"/>
                    <a:pt x="110123" y="184097"/>
                  </a:cubicBezTo>
                  <a:cubicBezTo>
                    <a:pt x="124224" y="174359"/>
                    <a:pt x="138409" y="168315"/>
                    <a:pt x="155029" y="165713"/>
                  </a:cubicBezTo>
                  <a:cubicBezTo>
                    <a:pt x="171480" y="163110"/>
                    <a:pt x="184910" y="165041"/>
                    <a:pt x="199430" y="155975"/>
                  </a:cubicBezTo>
                  <a:cubicBezTo>
                    <a:pt x="212944" y="147496"/>
                    <a:pt x="220666" y="130874"/>
                    <a:pt x="235858" y="125082"/>
                  </a:cubicBezTo>
                  <a:cubicBezTo>
                    <a:pt x="242321" y="122648"/>
                    <a:pt x="249120" y="121304"/>
                    <a:pt x="256002" y="120213"/>
                  </a:cubicBezTo>
                  <a:lnTo>
                    <a:pt x="234683" y="21743"/>
                  </a:lnTo>
                  <a:lnTo>
                    <a:pt x="233927" y="18385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A93596B-8257-2B9E-E204-8A3D21934457}"/>
                </a:ext>
              </a:extLst>
            </p:cNvPr>
            <p:cNvSpPr/>
            <p:nvPr/>
          </p:nvSpPr>
          <p:spPr>
            <a:xfrm>
              <a:off x="11320804" y="2084190"/>
              <a:ext cx="495584" cy="774788"/>
            </a:xfrm>
            <a:custGeom>
              <a:avLst/>
              <a:gdLst>
                <a:gd name="connsiteX0" fmla="*/ 516453 w 548669"/>
                <a:gd name="connsiteY0" fmla="*/ 361651 h 857781"/>
                <a:gd name="connsiteX1" fmla="*/ 443513 w 548669"/>
                <a:gd name="connsiteY1" fmla="*/ 340076 h 857781"/>
                <a:gd name="connsiteX2" fmla="*/ 424292 w 548669"/>
                <a:gd name="connsiteY2" fmla="*/ 305238 h 857781"/>
                <a:gd name="connsiteX3" fmla="*/ 409184 w 548669"/>
                <a:gd name="connsiteY3" fmla="*/ 268721 h 857781"/>
                <a:gd name="connsiteX4" fmla="*/ 370406 w 548669"/>
                <a:gd name="connsiteY4" fmla="*/ 208195 h 857781"/>
                <a:gd name="connsiteX5" fmla="*/ 366209 w 548669"/>
                <a:gd name="connsiteY5" fmla="*/ 187124 h 857781"/>
                <a:gd name="connsiteX6" fmla="*/ 355801 w 548669"/>
                <a:gd name="connsiteY6" fmla="*/ 167144 h 857781"/>
                <a:gd name="connsiteX7" fmla="*/ 340861 w 548669"/>
                <a:gd name="connsiteY7" fmla="*/ 124919 h 857781"/>
                <a:gd name="connsiteX8" fmla="*/ 318114 w 548669"/>
                <a:gd name="connsiteY8" fmla="*/ 51296 h 857781"/>
                <a:gd name="connsiteX9" fmla="*/ 255163 w 548669"/>
                <a:gd name="connsiteY9" fmla="*/ 4 h 857781"/>
                <a:gd name="connsiteX10" fmla="*/ 196324 w 548669"/>
                <a:gd name="connsiteY10" fmla="*/ 39040 h 857781"/>
                <a:gd name="connsiteX11" fmla="*/ 169129 w 548669"/>
                <a:gd name="connsiteY11" fmla="*/ 51213 h 857781"/>
                <a:gd name="connsiteX12" fmla="*/ 154440 w 548669"/>
                <a:gd name="connsiteY12" fmla="*/ 25189 h 857781"/>
                <a:gd name="connsiteX13" fmla="*/ 126490 w 548669"/>
                <a:gd name="connsiteY13" fmla="*/ 11757 h 857781"/>
                <a:gd name="connsiteX14" fmla="*/ 111298 w 548669"/>
                <a:gd name="connsiteY14" fmla="*/ 40887 h 857781"/>
                <a:gd name="connsiteX15" fmla="*/ 84606 w 548669"/>
                <a:gd name="connsiteY15" fmla="*/ 117195 h 857781"/>
                <a:gd name="connsiteX16" fmla="*/ 70338 w 548669"/>
                <a:gd name="connsiteY16" fmla="*/ 151110 h 857781"/>
                <a:gd name="connsiteX17" fmla="*/ 59006 w 548669"/>
                <a:gd name="connsiteY17" fmla="*/ 191909 h 857781"/>
                <a:gd name="connsiteX18" fmla="*/ 50529 w 548669"/>
                <a:gd name="connsiteY18" fmla="*/ 252855 h 857781"/>
                <a:gd name="connsiteX19" fmla="*/ 59342 w 548669"/>
                <a:gd name="connsiteY19" fmla="*/ 288616 h 857781"/>
                <a:gd name="connsiteX20" fmla="*/ 70170 w 548669"/>
                <a:gd name="connsiteY20" fmla="*/ 354767 h 857781"/>
                <a:gd name="connsiteX21" fmla="*/ 24341 w 548669"/>
                <a:gd name="connsiteY21" fmla="*/ 446354 h 857781"/>
                <a:gd name="connsiteX22" fmla="*/ 0 w 548669"/>
                <a:gd name="connsiteY22" fmla="*/ 463228 h 857781"/>
                <a:gd name="connsiteX23" fmla="*/ 111466 w 548669"/>
                <a:gd name="connsiteY23" fmla="*/ 807497 h 857781"/>
                <a:gd name="connsiteX24" fmla="*/ 164932 w 548669"/>
                <a:gd name="connsiteY24" fmla="*/ 857782 h 857781"/>
                <a:gd name="connsiteX25" fmla="*/ 183566 w 548669"/>
                <a:gd name="connsiteY25" fmla="*/ 807917 h 857781"/>
                <a:gd name="connsiteX26" fmla="*/ 192127 w 548669"/>
                <a:gd name="connsiteY26" fmla="*/ 773582 h 857781"/>
                <a:gd name="connsiteX27" fmla="*/ 206648 w 548669"/>
                <a:gd name="connsiteY27" fmla="*/ 735806 h 857781"/>
                <a:gd name="connsiteX28" fmla="*/ 217728 w 548669"/>
                <a:gd name="connsiteY28" fmla="*/ 702982 h 857781"/>
                <a:gd name="connsiteX29" fmla="*/ 245678 w 548669"/>
                <a:gd name="connsiteY29" fmla="*/ 689718 h 857781"/>
                <a:gd name="connsiteX30" fmla="*/ 271195 w 548669"/>
                <a:gd name="connsiteY30" fmla="*/ 673852 h 857781"/>
                <a:gd name="connsiteX31" fmla="*/ 291842 w 548669"/>
                <a:gd name="connsiteY31" fmla="*/ 658658 h 857781"/>
                <a:gd name="connsiteX32" fmla="*/ 316016 w 548669"/>
                <a:gd name="connsiteY32" fmla="*/ 607534 h 857781"/>
                <a:gd name="connsiteX33" fmla="*/ 316016 w 548669"/>
                <a:gd name="connsiteY33" fmla="*/ 572611 h 857781"/>
                <a:gd name="connsiteX34" fmla="*/ 314925 w 548669"/>
                <a:gd name="connsiteY34" fmla="*/ 545580 h 857781"/>
                <a:gd name="connsiteX35" fmla="*/ 347240 w 548669"/>
                <a:gd name="connsiteY35" fmla="*/ 548686 h 857781"/>
                <a:gd name="connsiteX36" fmla="*/ 371581 w 548669"/>
                <a:gd name="connsiteY36" fmla="*/ 561111 h 857781"/>
                <a:gd name="connsiteX37" fmla="*/ 400035 w 548669"/>
                <a:gd name="connsiteY37" fmla="*/ 542222 h 857781"/>
                <a:gd name="connsiteX38" fmla="*/ 409772 w 548669"/>
                <a:gd name="connsiteY38" fmla="*/ 511162 h 857781"/>
                <a:gd name="connsiteX39" fmla="*/ 440995 w 548669"/>
                <a:gd name="connsiteY39" fmla="*/ 508895 h 857781"/>
                <a:gd name="connsiteX40" fmla="*/ 492280 w 548669"/>
                <a:gd name="connsiteY40" fmla="*/ 472798 h 857781"/>
                <a:gd name="connsiteX41" fmla="*/ 517544 w 548669"/>
                <a:gd name="connsiteY41" fmla="*/ 446774 h 857781"/>
                <a:gd name="connsiteX42" fmla="*/ 545159 w 548669"/>
                <a:gd name="connsiteY42" fmla="*/ 422009 h 857781"/>
                <a:gd name="connsiteX43" fmla="*/ 516537 w 548669"/>
                <a:gd name="connsiteY43" fmla="*/ 361483 h 85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8669" h="857781">
                  <a:moveTo>
                    <a:pt x="516453" y="361651"/>
                  </a:moveTo>
                  <a:cubicBezTo>
                    <a:pt x="495218" y="351158"/>
                    <a:pt x="461224" y="359384"/>
                    <a:pt x="443513" y="340076"/>
                  </a:cubicBezTo>
                  <a:cubicBezTo>
                    <a:pt x="435623" y="331430"/>
                    <a:pt x="430419" y="315816"/>
                    <a:pt x="424292" y="305238"/>
                  </a:cubicBezTo>
                  <a:cubicBezTo>
                    <a:pt x="417662" y="293821"/>
                    <a:pt x="414388" y="281229"/>
                    <a:pt x="409184" y="268721"/>
                  </a:cubicBezTo>
                  <a:cubicBezTo>
                    <a:pt x="399615" y="245719"/>
                    <a:pt x="378044" y="232204"/>
                    <a:pt x="370406" y="208195"/>
                  </a:cubicBezTo>
                  <a:cubicBezTo>
                    <a:pt x="368140" y="201059"/>
                    <a:pt x="368308" y="194175"/>
                    <a:pt x="366209" y="187124"/>
                  </a:cubicBezTo>
                  <a:cubicBezTo>
                    <a:pt x="364363" y="180828"/>
                    <a:pt x="358487" y="173860"/>
                    <a:pt x="355801" y="167144"/>
                  </a:cubicBezTo>
                  <a:cubicBezTo>
                    <a:pt x="350345" y="153377"/>
                    <a:pt x="345981" y="139106"/>
                    <a:pt x="340861" y="124919"/>
                  </a:cubicBezTo>
                  <a:cubicBezTo>
                    <a:pt x="332048" y="100406"/>
                    <a:pt x="330285" y="73710"/>
                    <a:pt x="318114" y="51296"/>
                  </a:cubicBezTo>
                  <a:cubicBezTo>
                    <a:pt x="307538" y="31988"/>
                    <a:pt x="278749" y="340"/>
                    <a:pt x="255163" y="4"/>
                  </a:cubicBezTo>
                  <a:cubicBezTo>
                    <a:pt x="230066" y="-331"/>
                    <a:pt x="209418" y="18389"/>
                    <a:pt x="196324" y="39040"/>
                  </a:cubicBezTo>
                  <a:cubicBezTo>
                    <a:pt x="189358" y="50037"/>
                    <a:pt x="183986" y="57341"/>
                    <a:pt x="169129" y="51213"/>
                  </a:cubicBezTo>
                  <a:cubicBezTo>
                    <a:pt x="156791" y="46092"/>
                    <a:pt x="158721" y="34507"/>
                    <a:pt x="154440" y="25189"/>
                  </a:cubicBezTo>
                  <a:cubicBezTo>
                    <a:pt x="150076" y="15703"/>
                    <a:pt x="137653" y="5797"/>
                    <a:pt x="126490" y="11757"/>
                  </a:cubicBezTo>
                  <a:cubicBezTo>
                    <a:pt x="117593" y="16542"/>
                    <a:pt x="113144" y="32240"/>
                    <a:pt x="111298" y="40887"/>
                  </a:cubicBezTo>
                  <a:cubicBezTo>
                    <a:pt x="105758" y="66995"/>
                    <a:pt x="98708" y="92599"/>
                    <a:pt x="84606" y="117195"/>
                  </a:cubicBezTo>
                  <a:cubicBezTo>
                    <a:pt x="78479" y="127857"/>
                    <a:pt x="72436" y="138854"/>
                    <a:pt x="70338" y="151110"/>
                  </a:cubicBezTo>
                  <a:cubicBezTo>
                    <a:pt x="67652" y="166892"/>
                    <a:pt x="61273" y="176798"/>
                    <a:pt x="59006" y="191909"/>
                  </a:cubicBezTo>
                  <a:cubicBezTo>
                    <a:pt x="55985" y="212224"/>
                    <a:pt x="48095" y="232036"/>
                    <a:pt x="50529" y="252855"/>
                  </a:cubicBezTo>
                  <a:cubicBezTo>
                    <a:pt x="51872" y="264440"/>
                    <a:pt x="55145" y="277368"/>
                    <a:pt x="59342" y="288616"/>
                  </a:cubicBezTo>
                  <a:cubicBezTo>
                    <a:pt x="68071" y="312038"/>
                    <a:pt x="76716" y="329247"/>
                    <a:pt x="70170" y="354767"/>
                  </a:cubicBezTo>
                  <a:cubicBezTo>
                    <a:pt x="61692" y="388011"/>
                    <a:pt x="51116" y="422681"/>
                    <a:pt x="24341" y="446354"/>
                  </a:cubicBezTo>
                  <a:cubicBezTo>
                    <a:pt x="16703" y="453154"/>
                    <a:pt x="8394" y="458359"/>
                    <a:pt x="0" y="463228"/>
                  </a:cubicBezTo>
                  <a:cubicBezTo>
                    <a:pt x="6463" y="489587"/>
                    <a:pt x="67652" y="735386"/>
                    <a:pt x="111466" y="807497"/>
                  </a:cubicBezTo>
                  <a:cubicBezTo>
                    <a:pt x="117845" y="817990"/>
                    <a:pt x="148313" y="844182"/>
                    <a:pt x="164932" y="857782"/>
                  </a:cubicBezTo>
                  <a:cubicBezTo>
                    <a:pt x="171564" y="841328"/>
                    <a:pt x="178698" y="824622"/>
                    <a:pt x="183566" y="807917"/>
                  </a:cubicBezTo>
                  <a:cubicBezTo>
                    <a:pt x="186923" y="796332"/>
                    <a:pt x="187427" y="784159"/>
                    <a:pt x="192127" y="773582"/>
                  </a:cubicBezTo>
                  <a:cubicBezTo>
                    <a:pt x="197499" y="761578"/>
                    <a:pt x="202200" y="748482"/>
                    <a:pt x="206648" y="735806"/>
                  </a:cubicBezTo>
                  <a:cubicBezTo>
                    <a:pt x="210593" y="724389"/>
                    <a:pt x="209418" y="712216"/>
                    <a:pt x="217728" y="702982"/>
                  </a:cubicBezTo>
                  <a:cubicBezTo>
                    <a:pt x="224694" y="695175"/>
                    <a:pt x="236697" y="694168"/>
                    <a:pt x="245678" y="689718"/>
                  </a:cubicBezTo>
                  <a:cubicBezTo>
                    <a:pt x="254659" y="685269"/>
                    <a:pt x="261961" y="677630"/>
                    <a:pt x="271195" y="673852"/>
                  </a:cubicBezTo>
                  <a:cubicBezTo>
                    <a:pt x="280763" y="669991"/>
                    <a:pt x="284960" y="666969"/>
                    <a:pt x="291842" y="658658"/>
                  </a:cubicBezTo>
                  <a:cubicBezTo>
                    <a:pt x="303425" y="644638"/>
                    <a:pt x="315512" y="626086"/>
                    <a:pt x="316016" y="607534"/>
                  </a:cubicBezTo>
                  <a:cubicBezTo>
                    <a:pt x="316352" y="595949"/>
                    <a:pt x="316100" y="584196"/>
                    <a:pt x="316016" y="572611"/>
                  </a:cubicBezTo>
                  <a:cubicBezTo>
                    <a:pt x="316016" y="564133"/>
                    <a:pt x="312910" y="553807"/>
                    <a:pt x="314925" y="545580"/>
                  </a:cubicBezTo>
                  <a:cubicBezTo>
                    <a:pt x="319877" y="525265"/>
                    <a:pt x="340861" y="536094"/>
                    <a:pt x="347240" y="548686"/>
                  </a:cubicBezTo>
                  <a:cubicBezTo>
                    <a:pt x="354542" y="563209"/>
                    <a:pt x="355549" y="564133"/>
                    <a:pt x="371581" y="561111"/>
                  </a:cubicBezTo>
                  <a:cubicBezTo>
                    <a:pt x="383248" y="558844"/>
                    <a:pt x="394747" y="553975"/>
                    <a:pt x="400035" y="542222"/>
                  </a:cubicBezTo>
                  <a:cubicBezTo>
                    <a:pt x="404400" y="532568"/>
                    <a:pt x="399447" y="517961"/>
                    <a:pt x="409772" y="511162"/>
                  </a:cubicBezTo>
                  <a:cubicBezTo>
                    <a:pt x="417913" y="505789"/>
                    <a:pt x="431595" y="509735"/>
                    <a:pt x="440995" y="508895"/>
                  </a:cubicBezTo>
                  <a:cubicBezTo>
                    <a:pt x="460049" y="507048"/>
                    <a:pt x="479773" y="487069"/>
                    <a:pt x="492280" y="472798"/>
                  </a:cubicBezTo>
                  <a:cubicBezTo>
                    <a:pt x="500757" y="463144"/>
                    <a:pt x="507640" y="454329"/>
                    <a:pt x="517544" y="446774"/>
                  </a:cubicBezTo>
                  <a:cubicBezTo>
                    <a:pt x="526022" y="440310"/>
                    <a:pt x="539703" y="431244"/>
                    <a:pt x="545159" y="422009"/>
                  </a:cubicBezTo>
                  <a:cubicBezTo>
                    <a:pt x="557498" y="401190"/>
                    <a:pt x="534751" y="370465"/>
                    <a:pt x="516537" y="361483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5C91B977-4ED8-0BBD-8D52-ECCBA6827710}"/>
                </a:ext>
              </a:extLst>
            </p:cNvPr>
            <p:cNvSpPr/>
            <p:nvPr/>
          </p:nvSpPr>
          <p:spPr>
            <a:xfrm>
              <a:off x="11246574" y="2506542"/>
              <a:ext cx="220627" cy="471786"/>
            </a:xfrm>
            <a:custGeom>
              <a:avLst/>
              <a:gdLst>
                <a:gd name="connsiteX0" fmla="*/ 186513 w 244260"/>
                <a:gd name="connsiteY0" fmla="*/ 344437 h 522322"/>
                <a:gd name="connsiteX1" fmla="*/ 75047 w 244260"/>
                <a:gd name="connsiteY1" fmla="*/ 0 h 522322"/>
                <a:gd name="connsiteX2" fmla="*/ 36688 w 244260"/>
                <a:gd name="connsiteY2" fmla="*/ 30221 h 522322"/>
                <a:gd name="connsiteX3" fmla="*/ 24686 w 244260"/>
                <a:gd name="connsiteY3" fmla="*/ 46255 h 522322"/>
                <a:gd name="connsiteX4" fmla="*/ 36605 w 244260"/>
                <a:gd name="connsiteY4" fmla="*/ 63884 h 522322"/>
                <a:gd name="connsiteX5" fmla="*/ 40465 w 244260"/>
                <a:gd name="connsiteY5" fmla="*/ 66906 h 522322"/>
                <a:gd name="connsiteX6" fmla="*/ 48187 w 244260"/>
                <a:gd name="connsiteY6" fmla="*/ 95113 h 522322"/>
                <a:gd name="connsiteX7" fmla="*/ 45921 w 244260"/>
                <a:gd name="connsiteY7" fmla="*/ 126257 h 522322"/>
                <a:gd name="connsiteX8" fmla="*/ 56833 w 244260"/>
                <a:gd name="connsiteY8" fmla="*/ 135575 h 522322"/>
                <a:gd name="connsiteX9" fmla="*/ 59770 w 244260"/>
                <a:gd name="connsiteY9" fmla="*/ 136331 h 522322"/>
                <a:gd name="connsiteX10" fmla="*/ 59938 w 244260"/>
                <a:gd name="connsiteY10" fmla="*/ 139353 h 522322"/>
                <a:gd name="connsiteX11" fmla="*/ 51461 w 244260"/>
                <a:gd name="connsiteY11" fmla="*/ 179564 h 522322"/>
                <a:gd name="connsiteX12" fmla="*/ 39626 w 244260"/>
                <a:gd name="connsiteY12" fmla="*/ 193164 h 522322"/>
                <a:gd name="connsiteX13" fmla="*/ 24686 w 244260"/>
                <a:gd name="connsiteY13" fmla="*/ 214067 h 522322"/>
                <a:gd name="connsiteX14" fmla="*/ 16628 w 244260"/>
                <a:gd name="connsiteY14" fmla="*/ 265107 h 522322"/>
                <a:gd name="connsiteX15" fmla="*/ 14110 w 244260"/>
                <a:gd name="connsiteY15" fmla="*/ 295328 h 522322"/>
                <a:gd name="connsiteX16" fmla="*/ 7563 w 244260"/>
                <a:gd name="connsiteY16" fmla="*/ 321939 h 522322"/>
                <a:gd name="connsiteX17" fmla="*/ 1771 w 244260"/>
                <a:gd name="connsiteY17" fmla="*/ 375162 h 522322"/>
                <a:gd name="connsiteX18" fmla="*/ 6891 w 244260"/>
                <a:gd name="connsiteY18" fmla="*/ 393547 h 522322"/>
                <a:gd name="connsiteX19" fmla="*/ 18390 w 244260"/>
                <a:gd name="connsiteY19" fmla="*/ 458438 h 522322"/>
                <a:gd name="connsiteX20" fmla="*/ 14781 w 244260"/>
                <a:gd name="connsiteY20" fmla="*/ 495123 h 522322"/>
                <a:gd name="connsiteX21" fmla="*/ 11592 w 244260"/>
                <a:gd name="connsiteY21" fmla="*/ 522322 h 522322"/>
                <a:gd name="connsiteX22" fmla="*/ 168970 w 244260"/>
                <a:gd name="connsiteY22" fmla="*/ 481776 h 522322"/>
                <a:gd name="connsiteX23" fmla="*/ 239140 w 244260"/>
                <a:gd name="connsiteY23" fmla="*/ 424943 h 522322"/>
                <a:gd name="connsiteX24" fmla="*/ 241155 w 244260"/>
                <a:gd name="connsiteY24" fmla="*/ 406642 h 522322"/>
                <a:gd name="connsiteX25" fmla="*/ 244260 w 244260"/>
                <a:gd name="connsiteY25" fmla="*/ 398667 h 522322"/>
                <a:gd name="connsiteX26" fmla="*/ 186848 w 244260"/>
                <a:gd name="connsiteY26" fmla="*/ 344521 h 522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4260" h="522322">
                  <a:moveTo>
                    <a:pt x="186513" y="344437"/>
                  </a:moveTo>
                  <a:cubicBezTo>
                    <a:pt x="140768" y="269052"/>
                    <a:pt x="80083" y="20903"/>
                    <a:pt x="75047" y="0"/>
                  </a:cubicBezTo>
                  <a:cubicBezTo>
                    <a:pt x="60778" y="8227"/>
                    <a:pt x="46929" y="16286"/>
                    <a:pt x="36688" y="30221"/>
                  </a:cubicBezTo>
                  <a:cubicBezTo>
                    <a:pt x="32491" y="35930"/>
                    <a:pt x="28715" y="41302"/>
                    <a:pt x="24686" y="46255"/>
                  </a:cubicBezTo>
                  <a:cubicBezTo>
                    <a:pt x="24686" y="53475"/>
                    <a:pt x="29890" y="58679"/>
                    <a:pt x="36605" y="63884"/>
                  </a:cubicBezTo>
                  <a:cubicBezTo>
                    <a:pt x="37863" y="64892"/>
                    <a:pt x="39123" y="65899"/>
                    <a:pt x="40465" y="66906"/>
                  </a:cubicBezTo>
                  <a:cubicBezTo>
                    <a:pt x="54063" y="78323"/>
                    <a:pt x="55490" y="80842"/>
                    <a:pt x="48187" y="95113"/>
                  </a:cubicBezTo>
                  <a:cubicBezTo>
                    <a:pt x="43991" y="103256"/>
                    <a:pt x="41809" y="116939"/>
                    <a:pt x="45921" y="126257"/>
                  </a:cubicBezTo>
                  <a:cubicBezTo>
                    <a:pt x="48104" y="131126"/>
                    <a:pt x="51629" y="134232"/>
                    <a:pt x="56833" y="135575"/>
                  </a:cubicBezTo>
                  <a:lnTo>
                    <a:pt x="59770" y="136331"/>
                  </a:lnTo>
                  <a:lnTo>
                    <a:pt x="59938" y="139353"/>
                  </a:lnTo>
                  <a:cubicBezTo>
                    <a:pt x="60778" y="152869"/>
                    <a:pt x="60358" y="167056"/>
                    <a:pt x="51461" y="179564"/>
                  </a:cubicBezTo>
                  <a:cubicBezTo>
                    <a:pt x="47516" y="185105"/>
                    <a:pt x="43487" y="189134"/>
                    <a:pt x="39626" y="193164"/>
                  </a:cubicBezTo>
                  <a:cubicBezTo>
                    <a:pt x="33583" y="199292"/>
                    <a:pt x="28379" y="204664"/>
                    <a:pt x="24686" y="214067"/>
                  </a:cubicBezTo>
                  <a:cubicBezTo>
                    <a:pt x="18306" y="230268"/>
                    <a:pt x="17383" y="247981"/>
                    <a:pt x="16628" y="265107"/>
                  </a:cubicBezTo>
                  <a:cubicBezTo>
                    <a:pt x="16125" y="275097"/>
                    <a:pt x="15621" y="285338"/>
                    <a:pt x="14110" y="295328"/>
                  </a:cubicBezTo>
                  <a:cubicBezTo>
                    <a:pt x="12683" y="304226"/>
                    <a:pt x="10081" y="313209"/>
                    <a:pt x="7563" y="321939"/>
                  </a:cubicBezTo>
                  <a:cubicBezTo>
                    <a:pt x="2443" y="339400"/>
                    <a:pt x="-2845" y="357533"/>
                    <a:pt x="1771" y="375162"/>
                  </a:cubicBezTo>
                  <a:cubicBezTo>
                    <a:pt x="3450" y="381626"/>
                    <a:pt x="5213" y="387670"/>
                    <a:pt x="6891" y="393547"/>
                  </a:cubicBezTo>
                  <a:cubicBezTo>
                    <a:pt x="12851" y="414198"/>
                    <a:pt x="18390" y="433674"/>
                    <a:pt x="18390" y="458438"/>
                  </a:cubicBezTo>
                  <a:cubicBezTo>
                    <a:pt x="18390" y="471450"/>
                    <a:pt x="16544" y="483455"/>
                    <a:pt x="14781" y="495123"/>
                  </a:cubicBezTo>
                  <a:cubicBezTo>
                    <a:pt x="13355" y="504358"/>
                    <a:pt x="12095" y="513172"/>
                    <a:pt x="11592" y="522322"/>
                  </a:cubicBezTo>
                  <a:cubicBezTo>
                    <a:pt x="69675" y="511493"/>
                    <a:pt x="138586" y="496550"/>
                    <a:pt x="168970" y="481776"/>
                  </a:cubicBezTo>
                  <a:cubicBezTo>
                    <a:pt x="185506" y="473717"/>
                    <a:pt x="226970" y="436108"/>
                    <a:pt x="239140" y="424943"/>
                  </a:cubicBezTo>
                  <a:cubicBezTo>
                    <a:pt x="238133" y="419570"/>
                    <a:pt x="238553" y="413610"/>
                    <a:pt x="241155" y="406642"/>
                  </a:cubicBezTo>
                  <a:cubicBezTo>
                    <a:pt x="242162" y="404040"/>
                    <a:pt x="243253" y="401354"/>
                    <a:pt x="244260" y="398667"/>
                  </a:cubicBezTo>
                  <a:cubicBezTo>
                    <a:pt x="232425" y="389013"/>
                    <a:pt x="194990" y="357869"/>
                    <a:pt x="186848" y="34452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376C234-CF7E-ACE9-D6EF-32C4D5A4BB9D}"/>
                </a:ext>
              </a:extLst>
            </p:cNvPr>
            <p:cNvSpPr/>
            <p:nvPr/>
          </p:nvSpPr>
          <p:spPr>
            <a:xfrm>
              <a:off x="5979008" y="3254257"/>
              <a:ext cx="746770" cy="940690"/>
            </a:xfrm>
            <a:custGeom>
              <a:avLst/>
              <a:gdLst>
                <a:gd name="connsiteX0" fmla="*/ 548768 w 826761"/>
                <a:gd name="connsiteY0" fmla="*/ 253774 h 1041454"/>
                <a:gd name="connsiteX1" fmla="*/ 578565 w 826761"/>
                <a:gd name="connsiteY1" fmla="*/ 64136 h 1041454"/>
                <a:gd name="connsiteX2" fmla="*/ 174082 w 826761"/>
                <a:gd name="connsiteY2" fmla="*/ 0 h 1041454"/>
                <a:gd name="connsiteX3" fmla="*/ 0 w 826761"/>
                <a:gd name="connsiteY3" fmla="*/ 913770 h 1041454"/>
                <a:gd name="connsiteX4" fmla="*/ 723522 w 826761"/>
                <a:gd name="connsiteY4" fmla="*/ 1041455 h 1041454"/>
                <a:gd name="connsiteX5" fmla="*/ 826762 w 826761"/>
                <a:gd name="connsiteY5" fmla="*/ 296083 h 1041454"/>
                <a:gd name="connsiteX6" fmla="*/ 548768 w 826761"/>
                <a:gd name="connsiteY6" fmla="*/ 253774 h 1041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6761" h="1041454">
                  <a:moveTo>
                    <a:pt x="548768" y="253774"/>
                  </a:moveTo>
                  <a:lnTo>
                    <a:pt x="578565" y="64136"/>
                  </a:lnTo>
                  <a:cubicBezTo>
                    <a:pt x="438561" y="44996"/>
                    <a:pt x="303342" y="23254"/>
                    <a:pt x="174082" y="0"/>
                  </a:cubicBezTo>
                  <a:lnTo>
                    <a:pt x="0" y="913770"/>
                  </a:lnTo>
                  <a:cubicBezTo>
                    <a:pt x="6043" y="915617"/>
                    <a:pt x="215126" y="977738"/>
                    <a:pt x="723522" y="1041455"/>
                  </a:cubicBezTo>
                  <a:lnTo>
                    <a:pt x="826762" y="296083"/>
                  </a:lnTo>
                  <a:cubicBezTo>
                    <a:pt x="651673" y="272662"/>
                    <a:pt x="550867" y="254193"/>
                    <a:pt x="548768" y="25377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23303D6-0F5F-58C5-D6F6-3EF71286878B}"/>
                </a:ext>
              </a:extLst>
            </p:cNvPr>
            <p:cNvSpPr/>
            <p:nvPr/>
          </p:nvSpPr>
          <p:spPr>
            <a:xfrm>
              <a:off x="10402617" y="2629455"/>
              <a:ext cx="960652" cy="745440"/>
            </a:xfrm>
            <a:custGeom>
              <a:avLst/>
              <a:gdLst>
                <a:gd name="connsiteX0" fmla="*/ 886272 w 1063554"/>
                <a:gd name="connsiteY0" fmla="*/ 753178 h 825289"/>
                <a:gd name="connsiteX1" fmla="*/ 884761 w 1063554"/>
                <a:gd name="connsiteY1" fmla="*/ 751667 h 825289"/>
                <a:gd name="connsiteX2" fmla="*/ 884426 w 1063554"/>
                <a:gd name="connsiteY2" fmla="*/ 751332 h 825289"/>
                <a:gd name="connsiteX3" fmla="*/ 881320 w 1063554"/>
                <a:gd name="connsiteY3" fmla="*/ 707763 h 825289"/>
                <a:gd name="connsiteX4" fmla="*/ 882159 w 1063554"/>
                <a:gd name="connsiteY4" fmla="*/ 670406 h 825289"/>
                <a:gd name="connsiteX5" fmla="*/ 865036 w 1063554"/>
                <a:gd name="connsiteY5" fmla="*/ 623563 h 825289"/>
                <a:gd name="connsiteX6" fmla="*/ 851523 w 1063554"/>
                <a:gd name="connsiteY6" fmla="*/ 590824 h 825289"/>
                <a:gd name="connsiteX7" fmla="*/ 851103 w 1063554"/>
                <a:gd name="connsiteY7" fmla="*/ 589396 h 825289"/>
                <a:gd name="connsiteX8" fmla="*/ 840527 w 1063554"/>
                <a:gd name="connsiteY8" fmla="*/ 515523 h 825289"/>
                <a:gd name="connsiteX9" fmla="*/ 845564 w 1063554"/>
                <a:gd name="connsiteY9" fmla="*/ 486729 h 825289"/>
                <a:gd name="connsiteX10" fmla="*/ 851019 w 1063554"/>
                <a:gd name="connsiteY10" fmla="*/ 430316 h 825289"/>
                <a:gd name="connsiteX11" fmla="*/ 836331 w 1063554"/>
                <a:gd name="connsiteY11" fmla="*/ 341667 h 825289"/>
                <a:gd name="connsiteX12" fmla="*/ 830623 w 1063554"/>
                <a:gd name="connsiteY12" fmla="*/ 312201 h 825289"/>
                <a:gd name="connsiteX13" fmla="*/ 829868 w 1063554"/>
                <a:gd name="connsiteY13" fmla="*/ 300533 h 825289"/>
                <a:gd name="connsiteX14" fmla="*/ 828189 w 1063554"/>
                <a:gd name="connsiteY14" fmla="*/ 284918 h 825289"/>
                <a:gd name="connsiteX15" fmla="*/ 816270 w 1063554"/>
                <a:gd name="connsiteY15" fmla="*/ 275432 h 825289"/>
                <a:gd name="connsiteX16" fmla="*/ 801749 w 1063554"/>
                <a:gd name="connsiteY16" fmla="*/ 263932 h 825289"/>
                <a:gd name="connsiteX17" fmla="*/ 791509 w 1063554"/>
                <a:gd name="connsiteY17" fmla="*/ 235221 h 825289"/>
                <a:gd name="connsiteX18" fmla="*/ 785885 w 1063554"/>
                <a:gd name="connsiteY18" fmla="*/ 215829 h 825289"/>
                <a:gd name="connsiteX19" fmla="*/ 777995 w 1063554"/>
                <a:gd name="connsiteY19" fmla="*/ 200551 h 825289"/>
                <a:gd name="connsiteX20" fmla="*/ 765070 w 1063554"/>
                <a:gd name="connsiteY20" fmla="*/ 163530 h 825289"/>
                <a:gd name="connsiteX21" fmla="*/ 767672 w 1063554"/>
                <a:gd name="connsiteY21" fmla="*/ 141452 h 825289"/>
                <a:gd name="connsiteX22" fmla="*/ 765993 w 1063554"/>
                <a:gd name="connsiteY22" fmla="*/ 112406 h 825289"/>
                <a:gd name="connsiteX23" fmla="*/ 748283 w 1063554"/>
                <a:gd name="connsiteY23" fmla="*/ 52803 h 825289"/>
                <a:gd name="connsiteX24" fmla="*/ 735021 w 1063554"/>
                <a:gd name="connsiteY24" fmla="*/ 0 h 825289"/>
                <a:gd name="connsiteX25" fmla="*/ 688017 w 1063554"/>
                <a:gd name="connsiteY25" fmla="*/ 14355 h 825289"/>
                <a:gd name="connsiteX26" fmla="*/ 608027 w 1063554"/>
                <a:gd name="connsiteY26" fmla="*/ 33159 h 825289"/>
                <a:gd name="connsiteX27" fmla="*/ 513516 w 1063554"/>
                <a:gd name="connsiteY27" fmla="*/ 63632 h 825289"/>
                <a:gd name="connsiteX28" fmla="*/ 479858 w 1063554"/>
                <a:gd name="connsiteY28" fmla="*/ 111063 h 825289"/>
                <a:gd name="connsiteX29" fmla="*/ 439065 w 1063554"/>
                <a:gd name="connsiteY29" fmla="*/ 162691 h 825289"/>
                <a:gd name="connsiteX30" fmla="*/ 408429 w 1063554"/>
                <a:gd name="connsiteY30" fmla="*/ 205336 h 825289"/>
                <a:gd name="connsiteX31" fmla="*/ 388956 w 1063554"/>
                <a:gd name="connsiteY31" fmla="*/ 239587 h 825289"/>
                <a:gd name="connsiteX32" fmla="*/ 400791 w 1063554"/>
                <a:gd name="connsiteY32" fmla="*/ 268968 h 825289"/>
                <a:gd name="connsiteX33" fmla="*/ 418921 w 1063554"/>
                <a:gd name="connsiteY33" fmla="*/ 344521 h 825289"/>
                <a:gd name="connsiteX34" fmla="*/ 355550 w 1063554"/>
                <a:gd name="connsiteY34" fmla="*/ 402193 h 825289"/>
                <a:gd name="connsiteX35" fmla="*/ 315681 w 1063554"/>
                <a:gd name="connsiteY35" fmla="*/ 418983 h 825289"/>
                <a:gd name="connsiteX36" fmla="*/ 279672 w 1063554"/>
                <a:gd name="connsiteY36" fmla="*/ 427126 h 825289"/>
                <a:gd name="connsiteX37" fmla="*/ 243245 w 1063554"/>
                <a:gd name="connsiteY37" fmla="*/ 443831 h 825289"/>
                <a:gd name="connsiteX38" fmla="*/ 209167 w 1063554"/>
                <a:gd name="connsiteY38" fmla="*/ 437115 h 825289"/>
                <a:gd name="connsiteX39" fmla="*/ 128589 w 1063554"/>
                <a:gd name="connsiteY39" fmla="*/ 439382 h 825289"/>
                <a:gd name="connsiteX40" fmla="*/ 51956 w 1063554"/>
                <a:gd name="connsiteY40" fmla="*/ 472122 h 825289"/>
                <a:gd name="connsiteX41" fmla="*/ 61105 w 1063554"/>
                <a:gd name="connsiteY41" fmla="*/ 515271 h 825289"/>
                <a:gd name="connsiteX42" fmla="*/ 86621 w 1063554"/>
                <a:gd name="connsiteY42" fmla="*/ 545408 h 825289"/>
                <a:gd name="connsiteX43" fmla="*/ 78312 w 1063554"/>
                <a:gd name="connsiteY43" fmla="*/ 582093 h 825289"/>
                <a:gd name="connsiteX44" fmla="*/ 49186 w 1063554"/>
                <a:gd name="connsiteY44" fmla="*/ 619198 h 825289"/>
                <a:gd name="connsiteX45" fmla="*/ 15192 w 1063554"/>
                <a:gd name="connsiteY45" fmla="*/ 655128 h 825289"/>
                <a:gd name="connsiteX46" fmla="*/ 0 w 1063554"/>
                <a:gd name="connsiteY46" fmla="*/ 667720 h 825289"/>
                <a:gd name="connsiteX47" fmla="*/ 13850 w 1063554"/>
                <a:gd name="connsiteY47" fmla="*/ 722957 h 825289"/>
                <a:gd name="connsiteX48" fmla="*/ 598542 w 1063554"/>
                <a:gd name="connsiteY48" fmla="*/ 602073 h 825289"/>
                <a:gd name="connsiteX49" fmla="*/ 626073 w 1063554"/>
                <a:gd name="connsiteY49" fmla="*/ 614329 h 825289"/>
                <a:gd name="connsiteX50" fmla="*/ 639670 w 1063554"/>
                <a:gd name="connsiteY50" fmla="*/ 631118 h 825289"/>
                <a:gd name="connsiteX51" fmla="*/ 643951 w 1063554"/>
                <a:gd name="connsiteY51" fmla="*/ 637582 h 825289"/>
                <a:gd name="connsiteX52" fmla="*/ 649239 w 1063554"/>
                <a:gd name="connsiteY52" fmla="*/ 645474 h 825289"/>
                <a:gd name="connsiteX53" fmla="*/ 659983 w 1063554"/>
                <a:gd name="connsiteY53" fmla="*/ 660080 h 825289"/>
                <a:gd name="connsiteX54" fmla="*/ 674839 w 1063554"/>
                <a:gd name="connsiteY54" fmla="*/ 670910 h 825289"/>
                <a:gd name="connsiteX55" fmla="*/ 685331 w 1063554"/>
                <a:gd name="connsiteY55" fmla="*/ 677961 h 825289"/>
                <a:gd name="connsiteX56" fmla="*/ 715296 w 1063554"/>
                <a:gd name="connsiteY56" fmla="*/ 697857 h 825289"/>
                <a:gd name="connsiteX57" fmla="*/ 733510 w 1063554"/>
                <a:gd name="connsiteY57" fmla="*/ 703817 h 825289"/>
                <a:gd name="connsiteX58" fmla="*/ 740812 w 1063554"/>
                <a:gd name="connsiteY58" fmla="*/ 705580 h 825289"/>
                <a:gd name="connsiteX59" fmla="*/ 746688 w 1063554"/>
                <a:gd name="connsiteY59" fmla="*/ 707091 h 825289"/>
                <a:gd name="connsiteX60" fmla="*/ 813920 w 1063554"/>
                <a:gd name="connsiteY60" fmla="*/ 728078 h 825289"/>
                <a:gd name="connsiteX61" fmla="*/ 820299 w 1063554"/>
                <a:gd name="connsiteY61" fmla="*/ 730596 h 825289"/>
                <a:gd name="connsiteX62" fmla="*/ 841199 w 1063554"/>
                <a:gd name="connsiteY62" fmla="*/ 741845 h 825289"/>
                <a:gd name="connsiteX63" fmla="*/ 848082 w 1063554"/>
                <a:gd name="connsiteY63" fmla="*/ 766442 h 825289"/>
                <a:gd name="connsiteX64" fmla="*/ 847998 w 1063554"/>
                <a:gd name="connsiteY64" fmla="*/ 771815 h 825289"/>
                <a:gd name="connsiteX65" fmla="*/ 851859 w 1063554"/>
                <a:gd name="connsiteY65" fmla="*/ 825289 h 825289"/>
                <a:gd name="connsiteX66" fmla="*/ 927064 w 1063554"/>
                <a:gd name="connsiteY66" fmla="*/ 801532 h 825289"/>
                <a:gd name="connsiteX67" fmla="*/ 1002606 w 1063554"/>
                <a:gd name="connsiteY67" fmla="*/ 757460 h 825289"/>
                <a:gd name="connsiteX68" fmla="*/ 1039454 w 1063554"/>
                <a:gd name="connsiteY68" fmla="*/ 739075 h 825289"/>
                <a:gd name="connsiteX69" fmla="*/ 1060102 w 1063554"/>
                <a:gd name="connsiteY69" fmla="*/ 692904 h 825289"/>
                <a:gd name="connsiteX70" fmla="*/ 958456 w 1063554"/>
                <a:gd name="connsiteY70" fmla="*/ 731604 h 825289"/>
                <a:gd name="connsiteX71" fmla="*/ 894246 w 1063554"/>
                <a:gd name="connsiteY71" fmla="*/ 754102 h 825289"/>
                <a:gd name="connsiteX72" fmla="*/ 886440 w 1063554"/>
                <a:gd name="connsiteY72" fmla="*/ 752927 h 82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063554" h="825289">
                  <a:moveTo>
                    <a:pt x="886272" y="753178"/>
                  </a:moveTo>
                  <a:cubicBezTo>
                    <a:pt x="885684" y="752759"/>
                    <a:pt x="885265" y="752171"/>
                    <a:pt x="884761" y="751667"/>
                  </a:cubicBezTo>
                  <a:cubicBezTo>
                    <a:pt x="884677" y="751583"/>
                    <a:pt x="884509" y="751415"/>
                    <a:pt x="884426" y="751332"/>
                  </a:cubicBezTo>
                  <a:cubicBezTo>
                    <a:pt x="878131" y="744112"/>
                    <a:pt x="879473" y="727910"/>
                    <a:pt x="881320" y="707763"/>
                  </a:cubicBezTo>
                  <a:cubicBezTo>
                    <a:pt x="882495" y="694247"/>
                    <a:pt x="883754" y="680228"/>
                    <a:pt x="882159" y="670406"/>
                  </a:cubicBezTo>
                  <a:cubicBezTo>
                    <a:pt x="879641" y="655212"/>
                    <a:pt x="872255" y="639093"/>
                    <a:pt x="865036" y="623563"/>
                  </a:cubicBezTo>
                  <a:cubicBezTo>
                    <a:pt x="859749" y="612146"/>
                    <a:pt x="854712" y="601317"/>
                    <a:pt x="851523" y="590824"/>
                  </a:cubicBezTo>
                  <a:lnTo>
                    <a:pt x="851103" y="589396"/>
                  </a:lnTo>
                  <a:cubicBezTo>
                    <a:pt x="843297" y="563541"/>
                    <a:pt x="837170" y="543141"/>
                    <a:pt x="840527" y="515523"/>
                  </a:cubicBezTo>
                  <a:cubicBezTo>
                    <a:pt x="841703" y="505701"/>
                    <a:pt x="843633" y="496047"/>
                    <a:pt x="845564" y="486729"/>
                  </a:cubicBezTo>
                  <a:cubicBezTo>
                    <a:pt x="849424" y="467756"/>
                    <a:pt x="852950" y="449876"/>
                    <a:pt x="851019" y="430316"/>
                  </a:cubicBezTo>
                  <a:cubicBezTo>
                    <a:pt x="848166" y="401186"/>
                    <a:pt x="842122" y="370965"/>
                    <a:pt x="836331" y="341667"/>
                  </a:cubicBezTo>
                  <a:cubicBezTo>
                    <a:pt x="834400" y="331761"/>
                    <a:pt x="832386" y="321939"/>
                    <a:pt x="830623" y="312201"/>
                  </a:cubicBezTo>
                  <a:cubicBezTo>
                    <a:pt x="830035" y="309095"/>
                    <a:pt x="829951" y="304982"/>
                    <a:pt x="829868" y="300533"/>
                  </a:cubicBezTo>
                  <a:cubicBezTo>
                    <a:pt x="829784" y="294824"/>
                    <a:pt x="829616" y="287773"/>
                    <a:pt x="828189" y="284918"/>
                  </a:cubicBezTo>
                  <a:cubicBezTo>
                    <a:pt x="826342" y="281309"/>
                    <a:pt x="821222" y="278286"/>
                    <a:pt x="816270" y="275432"/>
                  </a:cubicBezTo>
                  <a:cubicBezTo>
                    <a:pt x="810814" y="272242"/>
                    <a:pt x="805191" y="268968"/>
                    <a:pt x="801749" y="263932"/>
                  </a:cubicBezTo>
                  <a:cubicBezTo>
                    <a:pt x="796377" y="256040"/>
                    <a:pt x="793943" y="245463"/>
                    <a:pt x="791509" y="235221"/>
                  </a:cubicBezTo>
                  <a:cubicBezTo>
                    <a:pt x="789831" y="228086"/>
                    <a:pt x="788236" y="221370"/>
                    <a:pt x="785885" y="215829"/>
                  </a:cubicBezTo>
                  <a:cubicBezTo>
                    <a:pt x="783535" y="210457"/>
                    <a:pt x="780681" y="205420"/>
                    <a:pt x="777995" y="200551"/>
                  </a:cubicBezTo>
                  <a:cubicBezTo>
                    <a:pt x="771952" y="189806"/>
                    <a:pt x="765657" y="178725"/>
                    <a:pt x="765070" y="163530"/>
                  </a:cubicBezTo>
                  <a:cubicBezTo>
                    <a:pt x="764734" y="155051"/>
                    <a:pt x="766329" y="147832"/>
                    <a:pt x="767672" y="141452"/>
                  </a:cubicBezTo>
                  <a:cubicBezTo>
                    <a:pt x="769854" y="131210"/>
                    <a:pt x="771617" y="123151"/>
                    <a:pt x="765993" y="112406"/>
                  </a:cubicBezTo>
                  <a:cubicBezTo>
                    <a:pt x="752983" y="87641"/>
                    <a:pt x="750717" y="82688"/>
                    <a:pt x="748283" y="52803"/>
                  </a:cubicBezTo>
                  <a:cubicBezTo>
                    <a:pt x="746940" y="36181"/>
                    <a:pt x="742155" y="17545"/>
                    <a:pt x="735021" y="0"/>
                  </a:cubicBezTo>
                  <a:cubicBezTo>
                    <a:pt x="719325" y="4281"/>
                    <a:pt x="703881" y="9234"/>
                    <a:pt x="688017" y="14355"/>
                  </a:cubicBezTo>
                  <a:cubicBezTo>
                    <a:pt x="661577" y="22918"/>
                    <a:pt x="633543" y="24932"/>
                    <a:pt x="608027" y="33159"/>
                  </a:cubicBezTo>
                  <a:cubicBezTo>
                    <a:pt x="575628" y="43569"/>
                    <a:pt x="544068" y="48858"/>
                    <a:pt x="513516" y="63632"/>
                  </a:cubicBezTo>
                  <a:cubicBezTo>
                    <a:pt x="497904" y="71188"/>
                    <a:pt x="490014" y="97967"/>
                    <a:pt x="479858" y="111063"/>
                  </a:cubicBezTo>
                  <a:cubicBezTo>
                    <a:pt x="466512" y="128272"/>
                    <a:pt x="451991" y="144894"/>
                    <a:pt x="439065" y="162691"/>
                  </a:cubicBezTo>
                  <a:cubicBezTo>
                    <a:pt x="428657" y="176878"/>
                    <a:pt x="420264" y="191317"/>
                    <a:pt x="408429" y="205336"/>
                  </a:cubicBezTo>
                  <a:cubicBezTo>
                    <a:pt x="399280" y="216165"/>
                    <a:pt x="392230" y="226659"/>
                    <a:pt x="388956" y="239587"/>
                  </a:cubicBezTo>
                  <a:cubicBezTo>
                    <a:pt x="384424" y="257132"/>
                    <a:pt x="388452" y="257803"/>
                    <a:pt x="400791" y="268968"/>
                  </a:cubicBezTo>
                  <a:cubicBezTo>
                    <a:pt x="422026" y="288276"/>
                    <a:pt x="426055" y="317070"/>
                    <a:pt x="418921" y="344521"/>
                  </a:cubicBezTo>
                  <a:cubicBezTo>
                    <a:pt x="411199" y="374071"/>
                    <a:pt x="383416" y="389265"/>
                    <a:pt x="355550" y="402193"/>
                  </a:cubicBezTo>
                  <a:cubicBezTo>
                    <a:pt x="343379" y="407902"/>
                    <a:pt x="329614" y="414366"/>
                    <a:pt x="315681" y="418983"/>
                  </a:cubicBezTo>
                  <a:cubicBezTo>
                    <a:pt x="303594" y="423012"/>
                    <a:pt x="291759" y="422341"/>
                    <a:pt x="279672" y="427126"/>
                  </a:cubicBezTo>
                  <a:cubicBezTo>
                    <a:pt x="267250" y="431995"/>
                    <a:pt x="257346" y="441733"/>
                    <a:pt x="243245" y="443831"/>
                  </a:cubicBezTo>
                  <a:cubicBezTo>
                    <a:pt x="229395" y="445930"/>
                    <a:pt x="220666" y="440809"/>
                    <a:pt x="209167" y="437115"/>
                  </a:cubicBezTo>
                  <a:cubicBezTo>
                    <a:pt x="184825" y="429308"/>
                    <a:pt x="152762" y="434345"/>
                    <a:pt x="128589" y="439382"/>
                  </a:cubicBezTo>
                  <a:cubicBezTo>
                    <a:pt x="107941" y="443663"/>
                    <a:pt x="58335" y="447777"/>
                    <a:pt x="51956" y="472122"/>
                  </a:cubicBezTo>
                  <a:cubicBezTo>
                    <a:pt x="48766" y="484042"/>
                    <a:pt x="54894" y="504945"/>
                    <a:pt x="61105" y="515271"/>
                  </a:cubicBezTo>
                  <a:cubicBezTo>
                    <a:pt x="67736" y="526268"/>
                    <a:pt x="82928" y="533403"/>
                    <a:pt x="86621" y="545408"/>
                  </a:cubicBezTo>
                  <a:cubicBezTo>
                    <a:pt x="89643" y="555146"/>
                    <a:pt x="82761" y="572607"/>
                    <a:pt x="78312" y="582093"/>
                  </a:cubicBezTo>
                  <a:cubicBezTo>
                    <a:pt x="72185" y="595273"/>
                    <a:pt x="59510" y="608788"/>
                    <a:pt x="49186" y="619198"/>
                  </a:cubicBezTo>
                  <a:cubicBezTo>
                    <a:pt x="37771" y="630699"/>
                    <a:pt x="26943" y="643375"/>
                    <a:pt x="15192" y="655128"/>
                  </a:cubicBezTo>
                  <a:cubicBezTo>
                    <a:pt x="10660" y="659661"/>
                    <a:pt x="5456" y="663774"/>
                    <a:pt x="0" y="667720"/>
                  </a:cubicBezTo>
                  <a:lnTo>
                    <a:pt x="13850" y="722957"/>
                  </a:lnTo>
                  <a:lnTo>
                    <a:pt x="598542" y="602073"/>
                  </a:lnTo>
                  <a:cubicBezTo>
                    <a:pt x="605089" y="604591"/>
                    <a:pt x="619610" y="609460"/>
                    <a:pt x="626073" y="614329"/>
                  </a:cubicBezTo>
                  <a:cubicBezTo>
                    <a:pt x="631780" y="618694"/>
                    <a:pt x="635809" y="624990"/>
                    <a:pt x="639670" y="631118"/>
                  </a:cubicBezTo>
                  <a:cubicBezTo>
                    <a:pt x="641097" y="633385"/>
                    <a:pt x="642524" y="635568"/>
                    <a:pt x="643951" y="637582"/>
                  </a:cubicBezTo>
                  <a:cubicBezTo>
                    <a:pt x="645714" y="640017"/>
                    <a:pt x="647392" y="642703"/>
                    <a:pt x="649239" y="645474"/>
                  </a:cubicBezTo>
                  <a:cubicBezTo>
                    <a:pt x="652596" y="650762"/>
                    <a:pt x="656122" y="656219"/>
                    <a:pt x="659983" y="660080"/>
                  </a:cubicBezTo>
                  <a:cubicBezTo>
                    <a:pt x="663760" y="663858"/>
                    <a:pt x="669383" y="667468"/>
                    <a:pt x="674839" y="670910"/>
                  </a:cubicBezTo>
                  <a:cubicBezTo>
                    <a:pt x="678532" y="673260"/>
                    <a:pt x="682226" y="675611"/>
                    <a:pt x="685331" y="677961"/>
                  </a:cubicBezTo>
                  <a:cubicBezTo>
                    <a:pt x="695235" y="685517"/>
                    <a:pt x="705559" y="692400"/>
                    <a:pt x="715296" y="697857"/>
                  </a:cubicBezTo>
                  <a:cubicBezTo>
                    <a:pt x="720920" y="701047"/>
                    <a:pt x="726795" y="702306"/>
                    <a:pt x="733510" y="703817"/>
                  </a:cubicBezTo>
                  <a:cubicBezTo>
                    <a:pt x="735944" y="704321"/>
                    <a:pt x="738378" y="704909"/>
                    <a:pt x="740812" y="705580"/>
                  </a:cubicBezTo>
                  <a:lnTo>
                    <a:pt x="746688" y="707091"/>
                  </a:lnTo>
                  <a:cubicBezTo>
                    <a:pt x="769098" y="712884"/>
                    <a:pt x="792265" y="718844"/>
                    <a:pt x="813920" y="728078"/>
                  </a:cubicBezTo>
                  <a:cubicBezTo>
                    <a:pt x="815934" y="728918"/>
                    <a:pt x="818117" y="729757"/>
                    <a:pt x="820299" y="730596"/>
                  </a:cubicBezTo>
                  <a:cubicBezTo>
                    <a:pt x="827601" y="733283"/>
                    <a:pt x="835827" y="736389"/>
                    <a:pt x="841199" y="741845"/>
                  </a:cubicBezTo>
                  <a:cubicBezTo>
                    <a:pt x="848585" y="749401"/>
                    <a:pt x="848333" y="757712"/>
                    <a:pt x="848082" y="766442"/>
                  </a:cubicBezTo>
                  <a:cubicBezTo>
                    <a:pt x="848082" y="768121"/>
                    <a:pt x="847998" y="769968"/>
                    <a:pt x="847998" y="771815"/>
                  </a:cubicBezTo>
                  <a:cubicBezTo>
                    <a:pt x="847998" y="787009"/>
                    <a:pt x="849089" y="807828"/>
                    <a:pt x="851859" y="825289"/>
                  </a:cubicBezTo>
                  <a:cubicBezTo>
                    <a:pt x="868981" y="811942"/>
                    <a:pt x="912460" y="807912"/>
                    <a:pt x="927064" y="801532"/>
                  </a:cubicBezTo>
                  <a:cubicBezTo>
                    <a:pt x="953756" y="789864"/>
                    <a:pt x="976334" y="767533"/>
                    <a:pt x="1002606" y="757460"/>
                  </a:cubicBezTo>
                  <a:cubicBezTo>
                    <a:pt x="1017882" y="751583"/>
                    <a:pt x="1029382" y="750660"/>
                    <a:pt x="1039454" y="739075"/>
                  </a:cubicBezTo>
                  <a:cubicBezTo>
                    <a:pt x="1048771" y="728330"/>
                    <a:pt x="1072356" y="702726"/>
                    <a:pt x="1060102" y="692904"/>
                  </a:cubicBezTo>
                  <a:cubicBezTo>
                    <a:pt x="1028458" y="667384"/>
                    <a:pt x="993625" y="716745"/>
                    <a:pt x="958456" y="731604"/>
                  </a:cubicBezTo>
                  <a:cubicBezTo>
                    <a:pt x="951993" y="734290"/>
                    <a:pt x="913803" y="754018"/>
                    <a:pt x="894246" y="754102"/>
                  </a:cubicBezTo>
                  <a:cubicBezTo>
                    <a:pt x="890637" y="754354"/>
                    <a:pt x="887615" y="753766"/>
                    <a:pt x="886440" y="752927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3B17622-1BAA-62E1-7E68-936A76684408}"/>
                </a:ext>
              </a:extLst>
            </p:cNvPr>
            <p:cNvSpPr/>
            <p:nvPr/>
          </p:nvSpPr>
          <p:spPr>
            <a:xfrm>
              <a:off x="8574660" y="4383753"/>
              <a:ext cx="666559" cy="604328"/>
            </a:xfrm>
            <a:custGeom>
              <a:avLst/>
              <a:gdLst>
                <a:gd name="connsiteX0" fmla="*/ 704636 w 737958"/>
                <a:gd name="connsiteY0" fmla="*/ 164369 h 669062"/>
                <a:gd name="connsiteX1" fmla="*/ 712442 w 737958"/>
                <a:gd name="connsiteY1" fmla="*/ 148335 h 669062"/>
                <a:gd name="connsiteX2" fmla="*/ 722682 w 737958"/>
                <a:gd name="connsiteY2" fmla="*/ 129699 h 669062"/>
                <a:gd name="connsiteX3" fmla="*/ 737119 w 737958"/>
                <a:gd name="connsiteY3" fmla="*/ 98470 h 669062"/>
                <a:gd name="connsiteX4" fmla="*/ 737958 w 737958"/>
                <a:gd name="connsiteY4" fmla="*/ 88061 h 669062"/>
                <a:gd name="connsiteX5" fmla="*/ 711183 w 737958"/>
                <a:gd name="connsiteY5" fmla="*/ 94021 h 669062"/>
                <a:gd name="connsiteX6" fmla="*/ 708245 w 737958"/>
                <a:gd name="connsiteY6" fmla="*/ 94441 h 669062"/>
                <a:gd name="connsiteX7" fmla="*/ 703629 w 737958"/>
                <a:gd name="connsiteY7" fmla="*/ 94777 h 669062"/>
                <a:gd name="connsiteX8" fmla="*/ 690367 w 737958"/>
                <a:gd name="connsiteY8" fmla="*/ 93098 h 669062"/>
                <a:gd name="connsiteX9" fmla="*/ 682561 w 737958"/>
                <a:gd name="connsiteY9" fmla="*/ 91839 h 669062"/>
                <a:gd name="connsiteX10" fmla="*/ 676938 w 737958"/>
                <a:gd name="connsiteY10" fmla="*/ 91251 h 669062"/>
                <a:gd name="connsiteX11" fmla="*/ 656625 w 737958"/>
                <a:gd name="connsiteY11" fmla="*/ 88817 h 669062"/>
                <a:gd name="connsiteX12" fmla="*/ 637236 w 737958"/>
                <a:gd name="connsiteY12" fmla="*/ 72447 h 669062"/>
                <a:gd name="connsiteX13" fmla="*/ 644203 w 737958"/>
                <a:gd name="connsiteY13" fmla="*/ 50704 h 669062"/>
                <a:gd name="connsiteX14" fmla="*/ 645126 w 737958"/>
                <a:gd name="connsiteY14" fmla="*/ 48941 h 669062"/>
                <a:gd name="connsiteX15" fmla="*/ 647896 w 737958"/>
                <a:gd name="connsiteY15" fmla="*/ 43401 h 669062"/>
                <a:gd name="connsiteX16" fmla="*/ 656289 w 737958"/>
                <a:gd name="connsiteY16" fmla="*/ 29046 h 669062"/>
                <a:gd name="connsiteX17" fmla="*/ 664011 w 737958"/>
                <a:gd name="connsiteY17" fmla="*/ 22162 h 669062"/>
                <a:gd name="connsiteX18" fmla="*/ 670055 w 737958"/>
                <a:gd name="connsiteY18" fmla="*/ 17041 h 669062"/>
                <a:gd name="connsiteX19" fmla="*/ 673160 w 737958"/>
                <a:gd name="connsiteY19" fmla="*/ 3442 h 669062"/>
                <a:gd name="connsiteX20" fmla="*/ 661158 w 737958"/>
                <a:gd name="connsiteY20" fmla="*/ 923 h 669062"/>
                <a:gd name="connsiteX21" fmla="*/ 658052 w 737958"/>
                <a:gd name="connsiteY21" fmla="*/ 923 h 669062"/>
                <a:gd name="connsiteX22" fmla="*/ 658052 w 737958"/>
                <a:gd name="connsiteY22" fmla="*/ 0 h 669062"/>
                <a:gd name="connsiteX23" fmla="*/ 0 w 737958"/>
                <a:gd name="connsiteY23" fmla="*/ 14019 h 669062"/>
                <a:gd name="connsiteX24" fmla="*/ 28538 w 737958"/>
                <a:gd name="connsiteY24" fmla="*/ 194255 h 669062"/>
                <a:gd name="connsiteX25" fmla="*/ 28538 w 737958"/>
                <a:gd name="connsiteY25" fmla="*/ 556489 h 669062"/>
                <a:gd name="connsiteX26" fmla="*/ 30804 w 737958"/>
                <a:gd name="connsiteY26" fmla="*/ 558252 h 669062"/>
                <a:gd name="connsiteX27" fmla="*/ 34330 w 737958"/>
                <a:gd name="connsiteY27" fmla="*/ 561106 h 669062"/>
                <a:gd name="connsiteX28" fmla="*/ 37603 w 737958"/>
                <a:gd name="connsiteY28" fmla="*/ 563876 h 669062"/>
                <a:gd name="connsiteX29" fmla="*/ 40960 w 737958"/>
                <a:gd name="connsiteY29" fmla="*/ 566479 h 669062"/>
                <a:gd name="connsiteX30" fmla="*/ 58923 w 737958"/>
                <a:gd name="connsiteY30" fmla="*/ 569501 h 669062"/>
                <a:gd name="connsiteX31" fmla="*/ 99127 w 737958"/>
                <a:gd name="connsiteY31" fmla="*/ 569669 h 669062"/>
                <a:gd name="connsiteX32" fmla="*/ 100638 w 737958"/>
                <a:gd name="connsiteY32" fmla="*/ 669063 h 669062"/>
                <a:gd name="connsiteX33" fmla="*/ 539116 w 737958"/>
                <a:gd name="connsiteY33" fmla="*/ 656806 h 669062"/>
                <a:gd name="connsiteX34" fmla="*/ 530723 w 737958"/>
                <a:gd name="connsiteY34" fmla="*/ 617015 h 669062"/>
                <a:gd name="connsiteX35" fmla="*/ 530723 w 737958"/>
                <a:gd name="connsiteY35" fmla="*/ 603164 h 669062"/>
                <a:gd name="connsiteX36" fmla="*/ 536598 w 737958"/>
                <a:gd name="connsiteY36" fmla="*/ 523749 h 669062"/>
                <a:gd name="connsiteX37" fmla="*/ 580832 w 737958"/>
                <a:gd name="connsiteY37" fmla="*/ 420158 h 669062"/>
                <a:gd name="connsiteX38" fmla="*/ 613147 w 737958"/>
                <a:gd name="connsiteY38" fmla="*/ 361563 h 669062"/>
                <a:gd name="connsiteX39" fmla="*/ 617427 w 737958"/>
                <a:gd name="connsiteY39" fmla="*/ 340324 h 669062"/>
                <a:gd name="connsiteX40" fmla="*/ 628926 w 737958"/>
                <a:gd name="connsiteY40" fmla="*/ 306241 h 669062"/>
                <a:gd name="connsiteX41" fmla="*/ 634886 w 737958"/>
                <a:gd name="connsiteY41" fmla="*/ 297930 h 669062"/>
                <a:gd name="connsiteX42" fmla="*/ 645126 w 737958"/>
                <a:gd name="connsiteY42" fmla="*/ 284582 h 669062"/>
                <a:gd name="connsiteX43" fmla="*/ 650666 w 737958"/>
                <a:gd name="connsiteY43" fmla="*/ 278958 h 669062"/>
                <a:gd name="connsiteX44" fmla="*/ 668796 w 737958"/>
                <a:gd name="connsiteY44" fmla="*/ 255369 h 669062"/>
                <a:gd name="connsiteX45" fmla="*/ 681134 w 737958"/>
                <a:gd name="connsiteY45" fmla="*/ 221454 h 669062"/>
                <a:gd name="connsiteX46" fmla="*/ 704552 w 737958"/>
                <a:gd name="connsiteY46" fmla="*/ 164118 h 669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737958" h="669062">
                  <a:moveTo>
                    <a:pt x="704636" y="164369"/>
                  </a:moveTo>
                  <a:cubicBezTo>
                    <a:pt x="707238" y="159081"/>
                    <a:pt x="709840" y="153708"/>
                    <a:pt x="712442" y="148335"/>
                  </a:cubicBezTo>
                  <a:cubicBezTo>
                    <a:pt x="715548" y="141787"/>
                    <a:pt x="719157" y="135659"/>
                    <a:pt x="722682" y="129699"/>
                  </a:cubicBezTo>
                  <a:cubicBezTo>
                    <a:pt x="728810" y="119374"/>
                    <a:pt x="734601" y="109636"/>
                    <a:pt x="737119" y="98470"/>
                  </a:cubicBezTo>
                  <a:cubicBezTo>
                    <a:pt x="737875" y="95197"/>
                    <a:pt x="737958" y="91671"/>
                    <a:pt x="737958" y="88061"/>
                  </a:cubicBezTo>
                  <a:cubicBezTo>
                    <a:pt x="731159" y="91083"/>
                    <a:pt x="721171" y="92678"/>
                    <a:pt x="711183" y="94021"/>
                  </a:cubicBezTo>
                  <a:lnTo>
                    <a:pt x="708245" y="94441"/>
                  </a:lnTo>
                  <a:cubicBezTo>
                    <a:pt x="706735" y="94693"/>
                    <a:pt x="705140" y="94777"/>
                    <a:pt x="703629" y="94777"/>
                  </a:cubicBezTo>
                  <a:cubicBezTo>
                    <a:pt x="699097" y="94777"/>
                    <a:pt x="694648" y="93937"/>
                    <a:pt x="690367" y="93098"/>
                  </a:cubicBezTo>
                  <a:cubicBezTo>
                    <a:pt x="687765" y="92594"/>
                    <a:pt x="685163" y="92091"/>
                    <a:pt x="682561" y="91839"/>
                  </a:cubicBezTo>
                  <a:lnTo>
                    <a:pt x="676938" y="91251"/>
                  </a:lnTo>
                  <a:cubicBezTo>
                    <a:pt x="670139" y="90580"/>
                    <a:pt x="663424" y="89908"/>
                    <a:pt x="656625" y="88817"/>
                  </a:cubicBezTo>
                  <a:cubicBezTo>
                    <a:pt x="649910" y="87809"/>
                    <a:pt x="637404" y="85878"/>
                    <a:pt x="637236" y="72447"/>
                  </a:cubicBezTo>
                  <a:cubicBezTo>
                    <a:pt x="637152" y="63884"/>
                    <a:pt x="640762" y="57168"/>
                    <a:pt x="644203" y="50704"/>
                  </a:cubicBezTo>
                  <a:lnTo>
                    <a:pt x="645126" y="48941"/>
                  </a:lnTo>
                  <a:cubicBezTo>
                    <a:pt x="646050" y="47179"/>
                    <a:pt x="646973" y="45248"/>
                    <a:pt x="647896" y="43401"/>
                  </a:cubicBezTo>
                  <a:cubicBezTo>
                    <a:pt x="650330" y="38448"/>
                    <a:pt x="652764" y="33243"/>
                    <a:pt x="656289" y="29046"/>
                  </a:cubicBezTo>
                  <a:cubicBezTo>
                    <a:pt x="658640" y="26192"/>
                    <a:pt x="661409" y="24177"/>
                    <a:pt x="664011" y="22162"/>
                  </a:cubicBezTo>
                  <a:cubicBezTo>
                    <a:pt x="666194" y="20483"/>
                    <a:pt x="668292" y="18972"/>
                    <a:pt x="670055" y="17041"/>
                  </a:cubicBezTo>
                  <a:cubicBezTo>
                    <a:pt x="672405" y="14439"/>
                    <a:pt x="674587" y="6380"/>
                    <a:pt x="673160" y="3442"/>
                  </a:cubicBezTo>
                  <a:cubicBezTo>
                    <a:pt x="671818" y="588"/>
                    <a:pt x="665858" y="755"/>
                    <a:pt x="661158" y="923"/>
                  </a:cubicBezTo>
                  <a:cubicBezTo>
                    <a:pt x="660067" y="923"/>
                    <a:pt x="659059" y="923"/>
                    <a:pt x="658052" y="923"/>
                  </a:cubicBezTo>
                  <a:lnTo>
                    <a:pt x="658052" y="0"/>
                  </a:lnTo>
                  <a:lnTo>
                    <a:pt x="0" y="14019"/>
                  </a:lnTo>
                  <a:cubicBezTo>
                    <a:pt x="4533" y="38784"/>
                    <a:pt x="25265" y="152953"/>
                    <a:pt x="28538" y="194255"/>
                  </a:cubicBezTo>
                  <a:cubicBezTo>
                    <a:pt x="35253" y="278790"/>
                    <a:pt x="29294" y="528618"/>
                    <a:pt x="28538" y="556489"/>
                  </a:cubicBezTo>
                  <a:cubicBezTo>
                    <a:pt x="29294" y="557077"/>
                    <a:pt x="30049" y="557580"/>
                    <a:pt x="30804" y="558252"/>
                  </a:cubicBezTo>
                  <a:cubicBezTo>
                    <a:pt x="31979" y="559259"/>
                    <a:pt x="33155" y="560183"/>
                    <a:pt x="34330" y="561106"/>
                  </a:cubicBezTo>
                  <a:cubicBezTo>
                    <a:pt x="35505" y="561946"/>
                    <a:pt x="36596" y="562953"/>
                    <a:pt x="37603" y="563876"/>
                  </a:cubicBezTo>
                  <a:cubicBezTo>
                    <a:pt x="38778" y="565052"/>
                    <a:pt x="39869" y="565975"/>
                    <a:pt x="40960" y="566479"/>
                  </a:cubicBezTo>
                  <a:cubicBezTo>
                    <a:pt x="45409" y="568409"/>
                    <a:pt x="52124" y="569501"/>
                    <a:pt x="58923" y="569501"/>
                  </a:cubicBezTo>
                  <a:lnTo>
                    <a:pt x="99127" y="569669"/>
                  </a:lnTo>
                  <a:lnTo>
                    <a:pt x="100638" y="669063"/>
                  </a:lnTo>
                  <a:lnTo>
                    <a:pt x="539116" y="656806"/>
                  </a:lnTo>
                  <a:cubicBezTo>
                    <a:pt x="533996" y="644718"/>
                    <a:pt x="530723" y="631790"/>
                    <a:pt x="530723" y="617015"/>
                  </a:cubicBezTo>
                  <a:cubicBezTo>
                    <a:pt x="530723" y="612398"/>
                    <a:pt x="530723" y="607781"/>
                    <a:pt x="530723" y="603164"/>
                  </a:cubicBezTo>
                  <a:cubicBezTo>
                    <a:pt x="530555" y="575713"/>
                    <a:pt x="530303" y="549773"/>
                    <a:pt x="536598" y="523749"/>
                  </a:cubicBezTo>
                  <a:cubicBezTo>
                    <a:pt x="545998" y="484546"/>
                    <a:pt x="562198" y="446769"/>
                    <a:pt x="580832" y="420158"/>
                  </a:cubicBezTo>
                  <a:cubicBezTo>
                    <a:pt x="591576" y="404796"/>
                    <a:pt x="605005" y="384312"/>
                    <a:pt x="613147" y="361563"/>
                  </a:cubicBezTo>
                  <a:cubicBezTo>
                    <a:pt x="615665" y="354595"/>
                    <a:pt x="616504" y="347375"/>
                    <a:pt x="617427" y="340324"/>
                  </a:cubicBezTo>
                  <a:cubicBezTo>
                    <a:pt x="618855" y="328739"/>
                    <a:pt x="620365" y="316818"/>
                    <a:pt x="628926" y="306241"/>
                  </a:cubicBezTo>
                  <a:cubicBezTo>
                    <a:pt x="631025" y="303723"/>
                    <a:pt x="632956" y="300868"/>
                    <a:pt x="634886" y="297930"/>
                  </a:cubicBezTo>
                  <a:cubicBezTo>
                    <a:pt x="637992" y="293397"/>
                    <a:pt x="641181" y="288696"/>
                    <a:pt x="645126" y="284582"/>
                  </a:cubicBezTo>
                  <a:cubicBezTo>
                    <a:pt x="647057" y="282652"/>
                    <a:pt x="648903" y="280805"/>
                    <a:pt x="650666" y="278958"/>
                  </a:cubicBezTo>
                  <a:cubicBezTo>
                    <a:pt x="657968" y="271654"/>
                    <a:pt x="664263" y="265442"/>
                    <a:pt x="668796" y="255369"/>
                  </a:cubicBezTo>
                  <a:cubicBezTo>
                    <a:pt x="674755" y="242021"/>
                    <a:pt x="678700" y="231276"/>
                    <a:pt x="681134" y="221454"/>
                  </a:cubicBezTo>
                  <a:cubicBezTo>
                    <a:pt x="686338" y="201054"/>
                    <a:pt x="695571" y="182250"/>
                    <a:pt x="704552" y="16411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8F5A7C16-A1ED-0C02-309C-3B2E93804586}"/>
                </a:ext>
              </a:extLst>
            </p:cNvPr>
            <p:cNvSpPr/>
            <p:nvPr/>
          </p:nvSpPr>
          <p:spPr>
            <a:xfrm>
              <a:off x="7438357" y="4277521"/>
              <a:ext cx="1157270" cy="604556"/>
            </a:xfrm>
            <a:custGeom>
              <a:avLst/>
              <a:gdLst>
                <a:gd name="connsiteX0" fmla="*/ 1248956 w 1281233"/>
                <a:gd name="connsiteY0" fmla="*/ 128440 h 669314"/>
                <a:gd name="connsiteX1" fmla="*/ 1253069 w 1281233"/>
                <a:gd name="connsiteY1" fmla="*/ 127684 h 669314"/>
                <a:gd name="connsiteX2" fmla="*/ 1248872 w 1281233"/>
                <a:gd name="connsiteY2" fmla="*/ 127684 h 669314"/>
                <a:gd name="connsiteX3" fmla="*/ 1248200 w 1281233"/>
                <a:gd name="connsiteY3" fmla="*/ 49277 h 669314"/>
                <a:gd name="connsiteX4" fmla="*/ 7218 w 1281233"/>
                <a:gd name="connsiteY4" fmla="*/ 0 h 669314"/>
                <a:gd name="connsiteX5" fmla="*/ 0 w 1281233"/>
                <a:gd name="connsiteY5" fmla="*/ 93266 h 669314"/>
                <a:gd name="connsiteX6" fmla="*/ 448802 w 1281233"/>
                <a:gd name="connsiteY6" fmla="*/ 120885 h 669314"/>
                <a:gd name="connsiteX7" fmla="*/ 437638 w 1281233"/>
                <a:gd name="connsiteY7" fmla="*/ 467840 h 669314"/>
                <a:gd name="connsiteX8" fmla="*/ 468274 w 1281233"/>
                <a:gd name="connsiteY8" fmla="*/ 510570 h 669314"/>
                <a:gd name="connsiteX9" fmla="*/ 511921 w 1281233"/>
                <a:gd name="connsiteY9" fmla="*/ 517034 h 669314"/>
                <a:gd name="connsiteX10" fmla="*/ 532989 w 1281233"/>
                <a:gd name="connsiteY10" fmla="*/ 516446 h 669314"/>
                <a:gd name="connsiteX11" fmla="*/ 535758 w 1281233"/>
                <a:gd name="connsiteY11" fmla="*/ 516614 h 669314"/>
                <a:gd name="connsiteX12" fmla="*/ 536681 w 1281233"/>
                <a:gd name="connsiteY12" fmla="*/ 519216 h 669314"/>
                <a:gd name="connsiteX13" fmla="*/ 541550 w 1281233"/>
                <a:gd name="connsiteY13" fmla="*/ 524001 h 669314"/>
                <a:gd name="connsiteX14" fmla="*/ 547090 w 1281233"/>
                <a:gd name="connsiteY14" fmla="*/ 528451 h 669314"/>
                <a:gd name="connsiteX15" fmla="*/ 553385 w 1281233"/>
                <a:gd name="connsiteY15" fmla="*/ 538944 h 669314"/>
                <a:gd name="connsiteX16" fmla="*/ 555315 w 1281233"/>
                <a:gd name="connsiteY16" fmla="*/ 542973 h 669314"/>
                <a:gd name="connsiteX17" fmla="*/ 574369 w 1281233"/>
                <a:gd name="connsiteY17" fmla="*/ 560602 h 669314"/>
                <a:gd name="connsiteX18" fmla="*/ 588973 w 1281233"/>
                <a:gd name="connsiteY18" fmla="*/ 563121 h 669314"/>
                <a:gd name="connsiteX19" fmla="*/ 611888 w 1281233"/>
                <a:gd name="connsiteY19" fmla="*/ 569165 h 669314"/>
                <a:gd name="connsiteX20" fmla="*/ 620113 w 1281233"/>
                <a:gd name="connsiteY20" fmla="*/ 575461 h 669314"/>
                <a:gd name="connsiteX21" fmla="*/ 639502 w 1281233"/>
                <a:gd name="connsiteY21" fmla="*/ 582597 h 669314"/>
                <a:gd name="connsiteX22" fmla="*/ 658807 w 1281233"/>
                <a:gd name="connsiteY22" fmla="*/ 576636 h 669314"/>
                <a:gd name="connsiteX23" fmla="*/ 717730 w 1281233"/>
                <a:gd name="connsiteY23" fmla="*/ 577392 h 669314"/>
                <a:gd name="connsiteX24" fmla="*/ 730236 w 1281233"/>
                <a:gd name="connsiteY24" fmla="*/ 593762 h 669314"/>
                <a:gd name="connsiteX25" fmla="*/ 762551 w 1281233"/>
                <a:gd name="connsiteY25" fmla="*/ 614917 h 669314"/>
                <a:gd name="connsiteX26" fmla="*/ 767923 w 1281233"/>
                <a:gd name="connsiteY26" fmla="*/ 614329 h 669314"/>
                <a:gd name="connsiteX27" fmla="*/ 794950 w 1281233"/>
                <a:gd name="connsiteY27" fmla="*/ 613909 h 669314"/>
                <a:gd name="connsiteX28" fmla="*/ 818032 w 1281233"/>
                <a:gd name="connsiteY28" fmla="*/ 625662 h 669314"/>
                <a:gd name="connsiteX29" fmla="*/ 824747 w 1281233"/>
                <a:gd name="connsiteY29" fmla="*/ 630195 h 669314"/>
                <a:gd name="connsiteX30" fmla="*/ 857314 w 1281233"/>
                <a:gd name="connsiteY30" fmla="*/ 641108 h 669314"/>
                <a:gd name="connsiteX31" fmla="*/ 870660 w 1281233"/>
                <a:gd name="connsiteY31" fmla="*/ 634896 h 669314"/>
                <a:gd name="connsiteX32" fmla="*/ 882830 w 1281233"/>
                <a:gd name="connsiteY32" fmla="*/ 628768 h 669314"/>
                <a:gd name="connsiteX33" fmla="*/ 947964 w 1281233"/>
                <a:gd name="connsiteY33" fmla="*/ 634057 h 669314"/>
                <a:gd name="connsiteX34" fmla="*/ 958876 w 1281233"/>
                <a:gd name="connsiteY34" fmla="*/ 640437 h 669314"/>
                <a:gd name="connsiteX35" fmla="*/ 974572 w 1281233"/>
                <a:gd name="connsiteY35" fmla="*/ 648412 h 669314"/>
                <a:gd name="connsiteX36" fmla="*/ 998073 w 1281233"/>
                <a:gd name="connsiteY36" fmla="*/ 647992 h 669314"/>
                <a:gd name="connsiteX37" fmla="*/ 1003697 w 1281233"/>
                <a:gd name="connsiteY37" fmla="*/ 647236 h 669314"/>
                <a:gd name="connsiteX38" fmla="*/ 1039202 w 1281233"/>
                <a:gd name="connsiteY38" fmla="*/ 638254 h 669314"/>
                <a:gd name="connsiteX39" fmla="*/ 1061696 w 1281233"/>
                <a:gd name="connsiteY39" fmla="*/ 631538 h 669314"/>
                <a:gd name="connsiteX40" fmla="*/ 1097621 w 1281233"/>
                <a:gd name="connsiteY40" fmla="*/ 619618 h 669314"/>
                <a:gd name="connsiteX41" fmla="*/ 1121458 w 1281233"/>
                <a:gd name="connsiteY41" fmla="*/ 611139 h 669314"/>
                <a:gd name="connsiteX42" fmla="*/ 1181975 w 1281233"/>
                <a:gd name="connsiteY42" fmla="*/ 616008 h 669314"/>
                <a:gd name="connsiteX43" fmla="*/ 1197503 w 1281233"/>
                <a:gd name="connsiteY43" fmla="*/ 624906 h 669314"/>
                <a:gd name="connsiteX44" fmla="*/ 1205561 w 1281233"/>
                <a:gd name="connsiteY44" fmla="*/ 629859 h 669314"/>
                <a:gd name="connsiteX45" fmla="*/ 1213703 w 1281233"/>
                <a:gd name="connsiteY45" fmla="*/ 633889 h 669314"/>
                <a:gd name="connsiteX46" fmla="*/ 1228392 w 1281233"/>
                <a:gd name="connsiteY46" fmla="*/ 642368 h 669314"/>
                <a:gd name="connsiteX47" fmla="*/ 1252061 w 1281233"/>
                <a:gd name="connsiteY47" fmla="*/ 660500 h 669314"/>
                <a:gd name="connsiteX48" fmla="*/ 1270611 w 1281233"/>
                <a:gd name="connsiteY48" fmla="*/ 667552 h 669314"/>
                <a:gd name="connsiteX49" fmla="*/ 1272206 w 1281233"/>
                <a:gd name="connsiteY49" fmla="*/ 667888 h 669314"/>
                <a:gd name="connsiteX50" fmla="*/ 1278165 w 1281233"/>
                <a:gd name="connsiteY50" fmla="*/ 669315 h 669314"/>
                <a:gd name="connsiteX51" fmla="*/ 1278165 w 1281233"/>
                <a:gd name="connsiteY51" fmla="*/ 312369 h 669314"/>
                <a:gd name="connsiteX52" fmla="*/ 1248872 w 1281233"/>
                <a:gd name="connsiteY52" fmla="*/ 128104 h 669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281233" h="669314">
                  <a:moveTo>
                    <a:pt x="1248956" y="128440"/>
                  </a:moveTo>
                  <a:lnTo>
                    <a:pt x="1253069" y="127684"/>
                  </a:lnTo>
                  <a:lnTo>
                    <a:pt x="1248872" y="127684"/>
                  </a:lnTo>
                  <a:cubicBezTo>
                    <a:pt x="1248872" y="127684"/>
                    <a:pt x="1248200" y="49277"/>
                    <a:pt x="1248200" y="49277"/>
                  </a:cubicBezTo>
                  <a:cubicBezTo>
                    <a:pt x="765405" y="40715"/>
                    <a:pt x="354290" y="22750"/>
                    <a:pt x="7218" y="0"/>
                  </a:cubicBezTo>
                  <a:lnTo>
                    <a:pt x="0" y="93266"/>
                  </a:lnTo>
                  <a:lnTo>
                    <a:pt x="448802" y="120885"/>
                  </a:lnTo>
                  <a:lnTo>
                    <a:pt x="437638" y="467840"/>
                  </a:lnTo>
                  <a:cubicBezTo>
                    <a:pt x="438393" y="487484"/>
                    <a:pt x="454006" y="500412"/>
                    <a:pt x="468274" y="510570"/>
                  </a:cubicBezTo>
                  <a:cubicBezTo>
                    <a:pt x="480361" y="519132"/>
                    <a:pt x="495721" y="518125"/>
                    <a:pt x="511921" y="517034"/>
                  </a:cubicBezTo>
                  <a:cubicBezTo>
                    <a:pt x="518887" y="516530"/>
                    <a:pt x="526106" y="516026"/>
                    <a:pt x="532989" y="516446"/>
                  </a:cubicBezTo>
                  <a:lnTo>
                    <a:pt x="535758" y="516614"/>
                  </a:lnTo>
                  <a:lnTo>
                    <a:pt x="536681" y="519216"/>
                  </a:lnTo>
                  <a:cubicBezTo>
                    <a:pt x="537353" y="521063"/>
                    <a:pt x="539032" y="522238"/>
                    <a:pt x="541550" y="524001"/>
                  </a:cubicBezTo>
                  <a:cubicBezTo>
                    <a:pt x="543312" y="525177"/>
                    <a:pt x="545327" y="526520"/>
                    <a:pt x="547090" y="528451"/>
                  </a:cubicBezTo>
                  <a:cubicBezTo>
                    <a:pt x="550195" y="531892"/>
                    <a:pt x="551874" y="535502"/>
                    <a:pt x="553385" y="538944"/>
                  </a:cubicBezTo>
                  <a:cubicBezTo>
                    <a:pt x="553972" y="540287"/>
                    <a:pt x="554560" y="541630"/>
                    <a:pt x="555315" y="542973"/>
                  </a:cubicBezTo>
                  <a:cubicBezTo>
                    <a:pt x="560687" y="553551"/>
                    <a:pt x="563877" y="557077"/>
                    <a:pt x="574369" y="560602"/>
                  </a:cubicBezTo>
                  <a:cubicBezTo>
                    <a:pt x="578817" y="562113"/>
                    <a:pt x="583769" y="562617"/>
                    <a:pt x="588973" y="563121"/>
                  </a:cubicBezTo>
                  <a:cubicBezTo>
                    <a:pt x="596863" y="563960"/>
                    <a:pt x="604921" y="564800"/>
                    <a:pt x="611888" y="569165"/>
                  </a:cubicBezTo>
                  <a:cubicBezTo>
                    <a:pt x="615077" y="571180"/>
                    <a:pt x="617763" y="573446"/>
                    <a:pt x="620113" y="575461"/>
                  </a:cubicBezTo>
                  <a:cubicBezTo>
                    <a:pt x="626408" y="580666"/>
                    <a:pt x="630521" y="584108"/>
                    <a:pt x="639502" y="582597"/>
                  </a:cubicBezTo>
                  <a:cubicBezTo>
                    <a:pt x="644958" y="581673"/>
                    <a:pt x="651673" y="579239"/>
                    <a:pt x="658807" y="576636"/>
                  </a:cubicBezTo>
                  <a:cubicBezTo>
                    <a:pt x="678196" y="569669"/>
                    <a:pt x="702286" y="561022"/>
                    <a:pt x="717730" y="577392"/>
                  </a:cubicBezTo>
                  <a:cubicBezTo>
                    <a:pt x="722682" y="582597"/>
                    <a:pt x="726543" y="588305"/>
                    <a:pt x="730236" y="593762"/>
                  </a:cubicBezTo>
                  <a:cubicBezTo>
                    <a:pt x="738882" y="606522"/>
                    <a:pt x="745596" y="616679"/>
                    <a:pt x="762551" y="614917"/>
                  </a:cubicBezTo>
                  <a:cubicBezTo>
                    <a:pt x="764314" y="614749"/>
                    <a:pt x="766077" y="614581"/>
                    <a:pt x="767923" y="614329"/>
                  </a:cubicBezTo>
                  <a:cubicBezTo>
                    <a:pt x="776652" y="613322"/>
                    <a:pt x="786557" y="612230"/>
                    <a:pt x="794950" y="613909"/>
                  </a:cubicBezTo>
                  <a:cubicBezTo>
                    <a:pt x="803680" y="615672"/>
                    <a:pt x="810982" y="620793"/>
                    <a:pt x="818032" y="625662"/>
                  </a:cubicBezTo>
                  <a:cubicBezTo>
                    <a:pt x="820299" y="627257"/>
                    <a:pt x="822481" y="628852"/>
                    <a:pt x="824747" y="630195"/>
                  </a:cubicBezTo>
                  <a:cubicBezTo>
                    <a:pt x="832050" y="634812"/>
                    <a:pt x="845731" y="643375"/>
                    <a:pt x="857314" y="641108"/>
                  </a:cubicBezTo>
                  <a:cubicBezTo>
                    <a:pt x="861343" y="640269"/>
                    <a:pt x="865875" y="637666"/>
                    <a:pt x="870660" y="634896"/>
                  </a:cubicBezTo>
                  <a:cubicBezTo>
                    <a:pt x="874605" y="632630"/>
                    <a:pt x="878634" y="630279"/>
                    <a:pt x="882830" y="628768"/>
                  </a:cubicBezTo>
                  <a:cubicBezTo>
                    <a:pt x="903478" y="621129"/>
                    <a:pt x="924126" y="622808"/>
                    <a:pt x="947964" y="634057"/>
                  </a:cubicBezTo>
                  <a:cubicBezTo>
                    <a:pt x="951741" y="635819"/>
                    <a:pt x="955350" y="638170"/>
                    <a:pt x="958876" y="640437"/>
                  </a:cubicBezTo>
                  <a:cubicBezTo>
                    <a:pt x="964247" y="643879"/>
                    <a:pt x="969284" y="647069"/>
                    <a:pt x="974572" y="648412"/>
                  </a:cubicBezTo>
                  <a:cubicBezTo>
                    <a:pt x="981790" y="650258"/>
                    <a:pt x="990100" y="649167"/>
                    <a:pt x="998073" y="647992"/>
                  </a:cubicBezTo>
                  <a:cubicBezTo>
                    <a:pt x="1000004" y="647740"/>
                    <a:pt x="1001851" y="647488"/>
                    <a:pt x="1003697" y="647236"/>
                  </a:cubicBezTo>
                  <a:cubicBezTo>
                    <a:pt x="1016203" y="645725"/>
                    <a:pt x="1027367" y="642116"/>
                    <a:pt x="1039202" y="638254"/>
                  </a:cubicBezTo>
                  <a:cubicBezTo>
                    <a:pt x="1046420" y="635903"/>
                    <a:pt x="1053890" y="633469"/>
                    <a:pt x="1061696" y="631538"/>
                  </a:cubicBezTo>
                  <a:cubicBezTo>
                    <a:pt x="1073783" y="628600"/>
                    <a:pt x="1085870" y="624067"/>
                    <a:pt x="1097621" y="619618"/>
                  </a:cubicBezTo>
                  <a:cubicBezTo>
                    <a:pt x="1105427" y="616679"/>
                    <a:pt x="1113568" y="613657"/>
                    <a:pt x="1121458" y="611139"/>
                  </a:cubicBezTo>
                  <a:cubicBezTo>
                    <a:pt x="1138581" y="605766"/>
                    <a:pt x="1164097" y="607781"/>
                    <a:pt x="1181975" y="616008"/>
                  </a:cubicBezTo>
                  <a:cubicBezTo>
                    <a:pt x="1187263" y="618442"/>
                    <a:pt x="1192467" y="621716"/>
                    <a:pt x="1197503" y="624906"/>
                  </a:cubicBezTo>
                  <a:cubicBezTo>
                    <a:pt x="1200189" y="626585"/>
                    <a:pt x="1202875" y="628264"/>
                    <a:pt x="1205561" y="629859"/>
                  </a:cubicBezTo>
                  <a:cubicBezTo>
                    <a:pt x="1208247" y="631370"/>
                    <a:pt x="1210933" y="632630"/>
                    <a:pt x="1213703" y="633889"/>
                  </a:cubicBezTo>
                  <a:cubicBezTo>
                    <a:pt x="1218655" y="636155"/>
                    <a:pt x="1223859" y="638506"/>
                    <a:pt x="1228392" y="642368"/>
                  </a:cubicBezTo>
                  <a:cubicBezTo>
                    <a:pt x="1237289" y="649923"/>
                    <a:pt x="1245011" y="655883"/>
                    <a:pt x="1252061" y="660500"/>
                  </a:cubicBezTo>
                  <a:cubicBezTo>
                    <a:pt x="1258692" y="664866"/>
                    <a:pt x="1262973" y="665873"/>
                    <a:pt x="1270611" y="667552"/>
                  </a:cubicBezTo>
                  <a:lnTo>
                    <a:pt x="1272206" y="667888"/>
                  </a:lnTo>
                  <a:cubicBezTo>
                    <a:pt x="1274136" y="668307"/>
                    <a:pt x="1276151" y="668727"/>
                    <a:pt x="1278165" y="669315"/>
                  </a:cubicBezTo>
                  <a:cubicBezTo>
                    <a:pt x="1279005" y="636995"/>
                    <a:pt x="1284628" y="395478"/>
                    <a:pt x="1278165" y="312369"/>
                  </a:cubicBezTo>
                  <a:cubicBezTo>
                    <a:pt x="1274556" y="266534"/>
                    <a:pt x="1249124" y="129531"/>
                    <a:pt x="1248872" y="12810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1EFDF33E-E4F6-68C9-FE43-B68B4E3F7E02}"/>
                </a:ext>
              </a:extLst>
            </p:cNvPr>
            <p:cNvSpPr/>
            <p:nvPr/>
          </p:nvSpPr>
          <p:spPr>
            <a:xfrm>
              <a:off x="10147334" y="3535038"/>
              <a:ext cx="510297" cy="595467"/>
            </a:xfrm>
            <a:custGeom>
              <a:avLst/>
              <a:gdLst>
                <a:gd name="connsiteX0" fmla="*/ 400222 w 564958"/>
                <a:gd name="connsiteY0" fmla="*/ 141368 h 659251"/>
                <a:gd name="connsiteX1" fmla="*/ 250985 w 564958"/>
                <a:gd name="connsiteY1" fmla="*/ 168987 h 659251"/>
                <a:gd name="connsiteX2" fmla="*/ 250230 w 564958"/>
                <a:gd name="connsiteY2" fmla="*/ 164789 h 659251"/>
                <a:gd name="connsiteX3" fmla="*/ 221524 w 564958"/>
                <a:gd name="connsiteY3" fmla="*/ 0 h 659251"/>
                <a:gd name="connsiteX4" fmla="*/ 214473 w 564958"/>
                <a:gd name="connsiteY4" fmla="*/ 38196 h 659251"/>
                <a:gd name="connsiteX5" fmla="*/ 216656 w 564958"/>
                <a:gd name="connsiteY5" fmla="*/ 64976 h 659251"/>
                <a:gd name="connsiteX6" fmla="*/ 218670 w 564958"/>
                <a:gd name="connsiteY6" fmla="*/ 85207 h 659251"/>
                <a:gd name="connsiteX7" fmla="*/ 215480 w 564958"/>
                <a:gd name="connsiteY7" fmla="*/ 178557 h 659251"/>
                <a:gd name="connsiteX8" fmla="*/ 161426 w 564958"/>
                <a:gd name="connsiteY8" fmla="*/ 243700 h 659251"/>
                <a:gd name="connsiteX9" fmla="*/ 127181 w 564958"/>
                <a:gd name="connsiteY9" fmla="*/ 271823 h 659251"/>
                <a:gd name="connsiteX10" fmla="*/ 87396 w 564958"/>
                <a:gd name="connsiteY10" fmla="*/ 310858 h 659251"/>
                <a:gd name="connsiteX11" fmla="*/ 74721 w 564958"/>
                <a:gd name="connsiteY11" fmla="*/ 322443 h 659251"/>
                <a:gd name="connsiteX12" fmla="*/ 50716 w 564958"/>
                <a:gd name="connsiteY12" fmla="*/ 377848 h 659251"/>
                <a:gd name="connsiteX13" fmla="*/ 52814 w 564958"/>
                <a:gd name="connsiteY13" fmla="*/ 381710 h 659251"/>
                <a:gd name="connsiteX14" fmla="*/ 57095 w 564958"/>
                <a:gd name="connsiteY14" fmla="*/ 392707 h 659251"/>
                <a:gd name="connsiteX15" fmla="*/ 52478 w 564958"/>
                <a:gd name="connsiteY15" fmla="*/ 423600 h 659251"/>
                <a:gd name="connsiteX16" fmla="*/ 24948 w 564958"/>
                <a:gd name="connsiteY16" fmla="*/ 457431 h 659251"/>
                <a:gd name="connsiteX17" fmla="*/ 14204 w 564958"/>
                <a:gd name="connsiteY17" fmla="*/ 459529 h 659251"/>
                <a:gd name="connsiteX18" fmla="*/ 5642 w 564958"/>
                <a:gd name="connsiteY18" fmla="*/ 458102 h 659251"/>
                <a:gd name="connsiteX19" fmla="*/ 1194 w 564958"/>
                <a:gd name="connsiteY19" fmla="*/ 511913 h 659251"/>
                <a:gd name="connsiteX20" fmla="*/ 94446 w 564958"/>
                <a:gd name="connsiteY20" fmla="*/ 608788 h 659251"/>
                <a:gd name="connsiteX21" fmla="*/ 120046 w 564958"/>
                <a:gd name="connsiteY21" fmla="*/ 632294 h 659251"/>
                <a:gd name="connsiteX22" fmla="*/ 151690 w 564958"/>
                <a:gd name="connsiteY22" fmla="*/ 657646 h 659251"/>
                <a:gd name="connsiteX23" fmla="*/ 183249 w 564958"/>
                <a:gd name="connsiteY23" fmla="*/ 651266 h 659251"/>
                <a:gd name="connsiteX24" fmla="*/ 191643 w 564958"/>
                <a:gd name="connsiteY24" fmla="*/ 641444 h 659251"/>
                <a:gd name="connsiteX25" fmla="*/ 217327 w 564958"/>
                <a:gd name="connsiteY25" fmla="*/ 630279 h 659251"/>
                <a:gd name="connsiteX26" fmla="*/ 222027 w 564958"/>
                <a:gd name="connsiteY26" fmla="*/ 630950 h 659251"/>
                <a:gd name="connsiteX27" fmla="*/ 255686 w 564958"/>
                <a:gd name="connsiteY27" fmla="*/ 628432 h 659251"/>
                <a:gd name="connsiteX28" fmla="*/ 258791 w 564958"/>
                <a:gd name="connsiteY28" fmla="*/ 627005 h 659251"/>
                <a:gd name="connsiteX29" fmla="*/ 274655 w 564958"/>
                <a:gd name="connsiteY29" fmla="*/ 617687 h 659251"/>
                <a:gd name="connsiteX30" fmla="*/ 278852 w 564958"/>
                <a:gd name="connsiteY30" fmla="*/ 610887 h 659251"/>
                <a:gd name="connsiteX31" fmla="*/ 286825 w 564958"/>
                <a:gd name="connsiteY31" fmla="*/ 600645 h 659251"/>
                <a:gd name="connsiteX32" fmla="*/ 310075 w 564958"/>
                <a:gd name="connsiteY32" fmla="*/ 593846 h 659251"/>
                <a:gd name="connsiteX33" fmla="*/ 327534 w 564958"/>
                <a:gd name="connsiteY33" fmla="*/ 589397 h 659251"/>
                <a:gd name="connsiteX34" fmla="*/ 335844 w 564958"/>
                <a:gd name="connsiteY34" fmla="*/ 569081 h 659251"/>
                <a:gd name="connsiteX35" fmla="*/ 338530 w 564958"/>
                <a:gd name="connsiteY35" fmla="*/ 555146 h 659251"/>
                <a:gd name="connsiteX36" fmla="*/ 363794 w 564958"/>
                <a:gd name="connsiteY36" fmla="*/ 504106 h 659251"/>
                <a:gd name="connsiteX37" fmla="*/ 371348 w 564958"/>
                <a:gd name="connsiteY37" fmla="*/ 491430 h 659251"/>
                <a:gd name="connsiteX38" fmla="*/ 375461 w 564958"/>
                <a:gd name="connsiteY38" fmla="*/ 470107 h 659251"/>
                <a:gd name="connsiteX39" fmla="*/ 377559 w 564958"/>
                <a:gd name="connsiteY39" fmla="*/ 451638 h 659251"/>
                <a:gd name="connsiteX40" fmla="*/ 385533 w 564958"/>
                <a:gd name="connsiteY40" fmla="*/ 432414 h 659251"/>
                <a:gd name="connsiteX41" fmla="*/ 394346 w 564958"/>
                <a:gd name="connsiteY41" fmla="*/ 408993 h 659251"/>
                <a:gd name="connsiteX42" fmla="*/ 396109 w 564958"/>
                <a:gd name="connsiteY42" fmla="*/ 395645 h 659251"/>
                <a:gd name="connsiteX43" fmla="*/ 403831 w 564958"/>
                <a:gd name="connsiteY43" fmla="*/ 365004 h 659251"/>
                <a:gd name="connsiteX44" fmla="*/ 436146 w 564958"/>
                <a:gd name="connsiteY44" fmla="*/ 334783 h 659251"/>
                <a:gd name="connsiteX45" fmla="*/ 439168 w 564958"/>
                <a:gd name="connsiteY45" fmla="*/ 332601 h 659251"/>
                <a:gd name="connsiteX46" fmla="*/ 483905 w 564958"/>
                <a:gd name="connsiteY46" fmla="*/ 303387 h 659251"/>
                <a:gd name="connsiteX47" fmla="*/ 512192 w 564958"/>
                <a:gd name="connsiteY47" fmla="*/ 285506 h 659251"/>
                <a:gd name="connsiteX48" fmla="*/ 528223 w 564958"/>
                <a:gd name="connsiteY48" fmla="*/ 266786 h 659251"/>
                <a:gd name="connsiteX49" fmla="*/ 541317 w 564958"/>
                <a:gd name="connsiteY49" fmla="*/ 249576 h 659251"/>
                <a:gd name="connsiteX50" fmla="*/ 560790 w 564958"/>
                <a:gd name="connsiteY50" fmla="*/ 218096 h 659251"/>
                <a:gd name="connsiteX51" fmla="*/ 559783 w 564958"/>
                <a:gd name="connsiteY51" fmla="*/ 165797 h 659251"/>
                <a:gd name="connsiteX52" fmla="*/ 544339 w 564958"/>
                <a:gd name="connsiteY52" fmla="*/ 155639 h 659251"/>
                <a:gd name="connsiteX53" fmla="*/ 476015 w 564958"/>
                <a:gd name="connsiteY53" fmla="*/ 182334 h 659251"/>
                <a:gd name="connsiteX54" fmla="*/ 423976 w 564958"/>
                <a:gd name="connsiteY54" fmla="*/ 228757 h 659251"/>
                <a:gd name="connsiteX55" fmla="*/ 410546 w 564958"/>
                <a:gd name="connsiteY55" fmla="*/ 232787 h 659251"/>
                <a:gd name="connsiteX56" fmla="*/ 405846 w 564958"/>
                <a:gd name="connsiteY56" fmla="*/ 233710 h 659251"/>
                <a:gd name="connsiteX57" fmla="*/ 400138 w 564958"/>
                <a:gd name="connsiteY57" fmla="*/ 141116 h 65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64958" h="659251">
                  <a:moveTo>
                    <a:pt x="400222" y="141368"/>
                  </a:moveTo>
                  <a:lnTo>
                    <a:pt x="250985" y="168987"/>
                  </a:lnTo>
                  <a:lnTo>
                    <a:pt x="250230" y="164789"/>
                  </a:lnTo>
                  <a:lnTo>
                    <a:pt x="221524" y="0"/>
                  </a:lnTo>
                  <a:cubicBezTo>
                    <a:pt x="215900" y="11249"/>
                    <a:pt x="214473" y="23337"/>
                    <a:pt x="214473" y="38196"/>
                  </a:cubicBezTo>
                  <a:cubicBezTo>
                    <a:pt x="214473" y="47346"/>
                    <a:pt x="215564" y="56329"/>
                    <a:pt x="216656" y="64976"/>
                  </a:cubicBezTo>
                  <a:cubicBezTo>
                    <a:pt x="217495" y="71523"/>
                    <a:pt x="218334" y="78323"/>
                    <a:pt x="218670" y="85207"/>
                  </a:cubicBezTo>
                  <a:cubicBezTo>
                    <a:pt x="220265" y="115260"/>
                    <a:pt x="221188" y="149931"/>
                    <a:pt x="215480" y="178557"/>
                  </a:cubicBezTo>
                  <a:cubicBezTo>
                    <a:pt x="209269" y="209869"/>
                    <a:pt x="184928" y="227078"/>
                    <a:pt x="161426" y="243700"/>
                  </a:cubicBezTo>
                  <a:cubicBezTo>
                    <a:pt x="149256" y="252347"/>
                    <a:pt x="136582" y="261245"/>
                    <a:pt x="127181" y="271823"/>
                  </a:cubicBezTo>
                  <a:cubicBezTo>
                    <a:pt x="114338" y="286261"/>
                    <a:pt x="101245" y="298182"/>
                    <a:pt x="87396" y="310858"/>
                  </a:cubicBezTo>
                  <a:cubicBezTo>
                    <a:pt x="83199" y="314720"/>
                    <a:pt x="79002" y="318498"/>
                    <a:pt x="74721" y="322443"/>
                  </a:cubicBezTo>
                  <a:cubicBezTo>
                    <a:pt x="55584" y="340240"/>
                    <a:pt x="40560" y="356694"/>
                    <a:pt x="50716" y="377848"/>
                  </a:cubicBezTo>
                  <a:cubicBezTo>
                    <a:pt x="51387" y="379276"/>
                    <a:pt x="52143" y="380535"/>
                    <a:pt x="52814" y="381710"/>
                  </a:cubicBezTo>
                  <a:cubicBezTo>
                    <a:pt x="54577" y="384816"/>
                    <a:pt x="56423" y="388006"/>
                    <a:pt x="57095" y="392707"/>
                  </a:cubicBezTo>
                  <a:cubicBezTo>
                    <a:pt x="58857" y="405467"/>
                    <a:pt x="54493" y="418563"/>
                    <a:pt x="52478" y="423600"/>
                  </a:cubicBezTo>
                  <a:cubicBezTo>
                    <a:pt x="48534" y="433590"/>
                    <a:pt x="39804" y="451303"/>
                    <a:pt x="24948" y="457431"/>
                  </a:cubicBezTo>
                  <a:cubicBezTo>
                    <a:pt x="21506" y="458858"/>
                    <a:pt x="17897" y="459529"/>
                    <a:pt x="14204" y="459529"/>
                  </a:cubicBezTo>
                  <a:cubicBezTo>
                    <a:pt x="11434" y="459529"/>
                    <a:pt x="8580" y="458942"/>
                    <a:pt x="5642" y="458102"/>
                  </a:cubicBezTo>
                  <a:cubicBezTo>
                    <a:pt x="2537" y="473045"/>
                    <a:pt x="-2248" y="502175"/>
                    <a:pt x="1194" y="511913"/>
                  </a:cubicBezTo>
                  <a:cubicBezTo>
                    <a:pt x="10847" y="538776"/>
                    <a:pt x="70188" y="589061"/>
                    <a:pt x="94446" y="608788"/>
                  </a:cubicBezTo>
                  <a:cubicBezTo>
                    <a:pt x="104183" y="614413"/>
                    <a:pt x="112240" y="623479"/>
                    <a:pt x="120046" y="632294"/>
                  </a:cubicBezTo>
                  <a:cubicBezTo>
                    <a:pt x="130034" y="643543"/>
                    <a:pt x="139435" y="654120"/>
                    <a:pt x="151690" y="657646"/>
                  </a:cubicBezTo>
                  <a:cubicBezTo>
                    <a:pt x="163860" y="661172"/>
                    <a:pt x="175360" y="658821"/>
                    <a:pt x="183249" y="651266"/>
                  </a:cubicBezTo>
                  <a:cubicBezTo>
                    <a:pt x="186943" y="647740"/>
                    <a:pt x="189377" y="644382"/>
                    <a:pt x="191643" y="641444"/>
                  </a:cubicBezTo>
                  <a:cubicBezTo>
                    <a:pt x="197266" y="633973"/>
                    <a:pt x="201715" y="628013"/>
                    <a:pt x="217327" y="630279"/>
                  </a:cubicBezTo>
                  <a:lnTo>
                    <a:pt x="222027" y="630950"/>
                  </a:lnTo>
                  <a:cubicBezTo>
                    <a:pt x="234869" y="632881"/>
                    <a:pt x="243347" y="634225"/>
                    <a:pt x="255686" y="628432"/>
                  </a:cubicBezTo>
                  <a:lnTo>
                    <a:pt x="258791" y="627005"/>
                  </a:lnTo>
                  <a:cubicBezTo>
                    <a:pt x="263911" y="624654"/>
                    <a:pt x="271717" y="621129"/>
                    <a:pt x="274655" y="617687"/>
                  </a:cubicBezTo>
                  <a:cubicBezTo>
                    <a:pt x="276753" y="615169"/>
                    <a:pt x="277761" y="613070"/>
                    <a:pt x="278852" y="610887"/>
                  </a:cubicBezTo>
                  <a:cubicBezTo>
                    <a:pt x="280447" y="607613"/>
                    <a:pt x="282041" y="604255"/>
                    <a:pt x="286825" y="600645"/>
                  </a:cubicBezTo>
                  <a:cubicBezTo>
                    <a:pt x="293792" y="595357"/>
                    <a:pt x="302101" y="594601"/>
                    <a:pt x="310075" y="593846"/>
                  </a:cubicBezTo>
                  <a:cubicBezTo>
                    <a:pt x="316706" y="593258"/>
                    <a:pt x="323001" y="592670"/>
                    <a:pt x="327534" y="589397"/>
                  </a:cubicBezTo>
                  <a:cubicBezTo>
                    <a:pt x="333829" y="585031"/>
                    <a:pt x="334752" y="577644"/>
                    <a:pt x="335844" y="569081"/>
                  </a:cubicBezTo>
                  <a:cubicBezTo>
                    <a:pt x="336431" y="564548"/>
                    <a:pt x="337019" y="559763"/>
                    <a:pt x="338530" y="555146"/>
                  </a:cubicBezTo>
                  <a:cubicBezTo>
                    <a:pt x="344573" y="536006"/>
                    <a:pt x="353890" y="520559"/>
                    <a:pt x="363794" y="504106"/>
                  </a:cubicBezTo>
                  <a:cubicBezTo>
                    <a:pt x="366312" y="499992"/>
                    <a:pt x="368830" y="495795"/>
                    <a:pt x="371348" y="491430"/>
                  </a:cubicBezTo>
                  <a:cubicBezTo>
                    <a:pt x="375293" y="484714"/>
                    <a:pt x="375377" y="477662"/>
                    <a:pt x="375461" y="470107"/>
                  </a:cubicBezTo>
                  <a:cubicBezTo>
                    <a:pt x="375461" y="464147"/>
                    <a:pt x="375629" y="458019"/>
                    <a:pt x="377559" y="451638"/>
                  </a:cubicBezTo>
                  <a:cubicBezTo>
                    <a:pt x="379742" y="444503"/>
                    <a:pt x="382680" y="438375"/>
                    <a:pt x="385533" y="432414"/>
                  </a:cubicBezTo>
                  <a:cubicBezTo>
                    <a:pt x="389142" y="424859"/>
                    <a:pt x="392584" y="417640"/>
                    <a:pt x="394346" y="408993"/>
                  </a:cubicBezTo>
                  <a:cubicBezTo>
                    <a:pt x="395186" y="404796"/>
                    <a:pt x="395689" y="400347"/>
                    <a:pt x="396109" y="395645"/>
                  </a:cubicBezTo>
                  <a:cubicBezTo>
                    <a:pt x="397200" y="385152"/>
                    <a:pt x="398291" y="374323"/>
                    <a:pt x="403831" y="365004"/>
                  </a:cubicBezTo>
                  <a:cubicBezTo>
                    <a:pt x="411050" y="352748"/>
                    <a:pt x="424983" y="342758"/>
                    <a:pt x="436146" y="334783"/>
                  </a:cubicBezTo>
                  <a:lnTo>
                    <a:pt x="439168" y="332601"/>
                  </a:lnTo>
                  <a:cubicBezTo>
                    <a:pt x="454109" y="321855"/>
                    <a:pt x="469217" y="312453"/>
                    <a:pt x="483905" y="303387"/>
                  </a:cubicBezTo>
                  <a:cubicBezTo>
                    <a:pt x="493390" y="297511"/>
                    <a:pt x="502791" y="291718"/>
                    <a:pt x="512192" y="285506"/>
                  </a:cubicBezTo>
                  <a:cubicBezTo>
                    <a:pt x="519494" y="280637"/>
                    <a:pt x="523775" y="273921"/>
                    <a:pt x="528223" y="266786"/>
                  </a:cubicBezTo>
                  <a:cubicBezTo>
                    <a:pt x="531916" y="260993"/>
                    <a:pt x="535693" y="254949"/>
                    <a:pt x="541317" y="249576"/>
                  </a:cubicBezTo>
                  <a:cubicBezTo>
                    <a:pt x="553404" y="238243"/>
                    <a:pt x="557181" y="233039"/>
                    <a:pt x="560790" y="218096"/>
                  </a:cubicBezTo>
                  <a:cubicBezTo>
                    <a:pt x="566665" y="194171"/>
                    <a:pt x="566330" y="176122"/>
                    <a:pt x="559783" y="165797"/>
                  </a:cubicBezTo>
                  <a:cubicBezTo>
                    <a:pt x="556342" y="160424"/>
                    <a:pt x="551305" y="157066"/>
                    <a:pt x="544339" y="155639"/>
                  </a:cubicBezTo>
                  <a:cubicBezTo>
                    <a:pt x="518655" y="150350"/>
                    <a:pt x="490536" y="161263"/>
                    <a:pt x="476015" y="182334"/>
                  </a:cubicBezTo>
                  <a:cubicBezTo>
                    <a:pt x="461243" y="203657"/>
                    <a:pt x="444204" y="218852"/>
                    <a:pt x="423976" y="228757"/>
                  </a:cubicBezTo>
                  <a:cubicBezTo>
                    <a:pt x="419107" y="231108"/>
                    <a:pt x="410882" y="232703"/>
                    <a:pt x="410546" y="232787"/>
                  </a:cubicBezTo>
                  <a:lnTo>
                    <a:pt x="405846" y="233710"/>
                  </a:lnTo>
                  <a:lnTo>
                    <a:pt x="400138" y="141116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40271B4A-8E4D-5E73-8D95-C25B516983E9}"/>
                </a:ext>
              </a:extLst>
            </p:cNvPr>
            <p:cNvSpPr/>
            <p:nvPr/>
          </p:nvSpPr>
          <p:spPr>
            <a:xfrm>
              <a:off x="6640108" y="3522754"/>
              <a:ext cx="965797" cy="754994"/>
            </a:xfrm>
            <a:custGeom>
              <a:avLst/>
              <a:gdLst>
                <a:gd name="connsiteX0" fmla="*/ 1069251 w 1069250"/>
                <a:gd name="connsiteY0" fmla="*/ 89320 h 835866"/>
                <a:gd name="connsiteX1" fmla="*/ 103240 w 1069250"/>
                <a:gd name="connsiteY1" fmla="*/ 0 h 835866"/>
                <a:gd name="connsiteX2" fmla="*/ 0 w 1069250"/>
                <a:gd name="connsiteY2" fmla="*/ 745287 h 835866"/>
                <a:gd name="connsiteX3" fmla="*/ 1029969 w 1069250"/>
                <a:gd name="connsiteY3" fmla="*/ 835867 h 835866"/>
                <a:gd name="connsiteX4" fmla="*/ 1069251 w 1069250"/>
                <a:gd name="connsiteY4" fmla="*/ 89320 h 83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9250" h="835866">
                  <a:moveTo>
                    <a:pt x="1069251" y="89320"/>
                  </a:moveTo>
                  <a:cubicBezTo>
                    <a:pt x="651001" y="65563"/>
                    <a:pt x="319290" y="28710"/>
                    <a:pt x="103240" y="0"/>
                  </a:cubicBezTo>
                  <a:lnTo>
                    <a:pt x="0" y="745287"/>
                  </a:lnTo>
                  <a:cubicBezTo>
                    <a:pt x="261039" y="777775"/>
                    <a:pt x="600137" y="810599"/>
                    <a:pt x="1029969" y="835867"/>
                  </a:cubicBezTo>
                  <a:lnTo>
                    <a:pt x="1069251" y="8932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27647236-B12D-F90D-94C3-2D278FE4B45E}"/>
                </a:ext>
              </a:extLst>
            </p:cNvPr>
            <p:cNvSpPr/>
            <p:nvPr/>
          </p:nvSpPr>
          <p:spPr>
            <a:xfrm>
              <a:off x="9183524" y="4247495"/>
              <a:ext cx="1124022" cy="374350"/>
            </a:xfrm>
            <a:custGeom>
              <a:avLst/>
              <a:gdLst>
                <a:gd name="connsiteX0" fmla="*/ 295956 w 1244423"/>
                <a:gd name="connsiteY0" fmla="*/ 129112 h 414449"/>
                <a:gd name="connsiteX1" fmla="*/ 92916 w 1244423"/>
                <a:gd name="connsiteY1" fmla="*/ 146153 h 414449"/>
                <a:gd name="connsiteX2" fmla="*/ 84355 w 1244423"/>
                <a:gd name="connsiteY2" fmla="*/ 160256 h 414449"/>
                <a:gd name="connsiteX3" fmla="*/ 75206 w 1244423"/>
                <a:gd name="connsiteY3" fmla="*/ 175535 h 414449"/>
                <a:gd name="connsiteX4" fmla="*/ 72185 w 1244423"/>
                <a:gd name="connsiteY4" fmla="*/ 197277 h 414449"/>
                <a:gd name="connsiteX5" fmla="*/ 72185 w 1244423"/>
                <a:gd name="connsiteY5" fmla="*/ 201642 h 414449"/>
                <a:gd name="connsiteX6" fmla="*/ 72772 w 1244423"/>
                <a:gd name="connsiteY6" fmla="*/ 208946 h 414449"/>
                <a:gd name="connsiteX7" fmla="*/ 72520 w 1244423"/>
                <a:gd name="connsiteY7" fmla="*/ 230184 h 414449"/>
                <a:gd name="connsiteX8" fmla="*/ 72352 w 1244423"/>
                <a:gd name="connsiteY8" fmla="*/ 236816 h 414449"/>
                <a:gd name="connsiteX9" fmla="*/ 71261 w 1244423"/>
                <a:gd name="connsiteY9" fmla="*/ 251255 h 414449"/>
                <a:gd name="connsiteX10" fmla="*/ 55817 w 1244423"/>
                <a:gd name="connsiteY10" fmla="*/ 284918 h 414449"/>
                <a:gd name="connsiteX11" fmla="*/ 45913 w 1244423"/>
                <a:gd name="connsiteY11" fmla="*/ 302799 h 414449"/>
                <a:gd name="connsiteX12" fmla="*/ 38107 w 1244423"/>
                <a:gd name="connsiteY12" fmla="*/ 319001 h 414449"/>
                <a:gd name="connsiteX13" fmla="*/ 15276 w 1244423"/>
                <a:gd name="connsiteY13" fmla="*/ 374742 h 414449"/>
                <a:gd name="connsiteX14" fmla="*/ 2434 w 1244423"/>
                <a:gd name="connsiteY14" fmla="*/ 409916 h 414449"/>
                <a:gd name="connsiteX15" fmla="*/ 0 w 1244423"/>
                <a:gd name="connsiteY15" fmla="*/ 414450 h 414449"/>
                <a:gd name="connsiteX16" fmla="*/ 884509 w 1244423"/>
                <a:gd name="connsiteY16" fmla="*/ 349138 h 414449"/>
                <a:gd name="connsiteX17" fmla="*/ 880144 w 1244423"/>
                <a:gd name="connsiteY17" fmla="*/ 321352 h 414449"/>
                <a:gd name="connsiteX18" fmla="*/ 878466 w 1244423"/>
                <a:gd name="connsiteY18" fmla="*/ 307584 h 414449"/>
                <a:gd name="connsiteX19" fmla="*/ 877627 w 1244423"/>
                <a:gd name="connsiteY19" fmla="*/ 302212 h 414449"/>
                <a:gd name="connsiteX20" fmla="*/ 882998 w 1244423"/>
                <a:gd name="connsiteY20" fmla="*/ 302715 h 414449"/>
                <a:gd name="connsiteX21" fmla="*/ 912795 w 1244423"/>
                <a:gd name="connsiteY21" fmla="*/ 280553 h 414449"/>
                <a:gd name="connsiteX22" fmla="*/ 919007 w 1244423"/>
                <a:gd name="connsiteY22" fmla="*/ 265526 h 414449"/>
                <a:gd name="connsiteX23" fmla="*/ 976502 w 1244423"/>
                <a:gd name="connsiteY23" fmla="*/ 223972 h 414449"/>
                <a:gd name="connsiteX24" fmla="*/ 1063459 w 1244423"/>
                <a:gd name="connsiteY24" fmla="*/ 164789 h 414449"/>
                <a:gd name="connsiteX25" fmla="*/ 1114240 w 1244423"/>
                <a:gd name="connsiteY25" fmla="*/ 109132 h 414449"/>
                <a:gd name="connsiteX26" fmla="*/ 1159313 w 1244423"/>
                <a:gd name="connsiteY26" fmla="*/ 91839 h 414449"/>
                <a:gd name="connsiteX27" fmla="*/ 1183486 w 1244423"/>
                <a:gd name="connsiteY27" fmla="*/ 84871 h 414449"/>
                <a:gd name="connsiteX28" fmla="*/ 1244423 w 1244423"/>
                <a:gd name="connsiteY28" fmla="*/ 0 h 414449"/>
                <a:gd name="connsiteX29" fmla="*/ 296795 w 1244423"/>
                <a:gd name="connsiteY29" fmla="*/ 80506 h 414449"/>
                <a:gd name="connsiteX30" fmla="*/ 296124 w 1244423"/>
                <a:gd name="connsiteY30" fmla="*/ 129195 h 41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44423" h="414449">
                  <a:moveTo>
                    <a:pt x="295956" y="129112"/>
                  </a:moveTo>
                  <a:lnTo>
                    <a:pt x="92916" y="146153"/>
                  </a:lnTo>
                  <a:cubicBezTo>
                    <a:pt x="90314" y="151106"/>
                    <a:pt x="87293" y="155807"/>
                    <a:pt x="84355" y="160256"/>
                  </a:cubicBezTo>
                  <a:cubicBezTo>
                    <a:pt x="80914" y="165461"/>
                    <a:pt x="77640" y="170330"/>
                    <a:pt x="75206" y="175535"/>
                  </a:cubicBezTo>
                  <a:cubicBezTo>
                    <a:pt x="72017" y="182250"/>
                    <a:pt x="72101" y="189218"/>
                    <a:pt x="72185" y="197277"/>
                  </a:cubicBezTo>
                  <a:lnTo>
                    <a:pt x="72185" y="201642"/>
                  </a:lnTo>
                  <a:cubicBezTo>
                    <a:pt x="72185" y="203405"/>
                    <a:pt x="72436" y="206008"/>
                    <a:pt x="72772" y="208946"/>
                  </a:cubicBezTo>
                  <a:cubicBezTo>
                    <a:pt x="73611" y="217844"/>
                    <a:pt x="73947" y="225148"/>
                    <a:pt x="72520" y="230184"/>
                  </a:cubicBezTo>
                  <a:cubicBezTo>
                    <a:pt x="72436" y="232283"/>
                    <a:pt x="72352" y="234466"/>
                    <a:pt x="72352" y="236816"/>
                  </a:cubicBezTo>
                  <a:cubicBezTo>
                    <a:pt x="72352" y="241517"/>
                    <a:pt x="72352" y="246386"/>
                    <a:pt x="71261" y="251255"/>
                  </a:cubicBezTo>
                  <a:cubicBezTo>
                    <a:pt x="68491" y="263680"/>
                    <a:pt x="62028" y="274509"/>
                    <a:pt x="55817" y="284918"/>
                  </a:cubicBezTo>
                  <a:cubicBezTo>
                    <a:pt x="52375" y="290627"/>
                    <a:pt x="48850" y="296587"/>
                    <a:pt x="45913" y="302799"/>
                  </a:cubicBezTo>
                  <a:cubicBezTo>
                    <a:pt x="43395" y="308256"/>
                    <a:pt x="40709" y="313628"/>
                    <a:pt x="38107" y="319001"/>
                  </a:cubicBezTo>
                  <a:cubicBezTo>
                    <a:pt x="28958" y="337553"/>
                    <a:pt x="20313" y="355098"/>
                    <a:pt x="15276" y="374742"/>
                  </a:cubicBezTo>
                  <a:cubicBezTo>
                    <a:pt x="12674" y="384984"/>
                    <a:pt x="8562" y="396149"/>
                    <a:pt x="2434" y="409916"/>
                  </a:cubicBezTo>
                  <a:cubicBezTo>
                    <a:pt x="1679" y="411595"/>
                    <a:pt x="840" y="412939"/>
                    <a:pt x="0" y="414450"/>
                  </a:cubicBezTo>
                  <a:lnTo>
                    <a:pt x="884509" y="349138"/>
                  </a:lnTo>
                  <a:cubicBezTo>
                    <a:pt x="882243" y="340911"/>
                    <a:pt x="881152" y="330670"/>
                    <a:pt x="880144" y="321352"/>
                  </a:cubicBezTo>
                  <a:cubicBezTo>
                    <a:pt x="879641" y="316399"/>
                    <a:pt x="879137" y="311614"/>
                    <a:pt x="878466" y="307584"/>
                  </a:cubicBezTo>
                  <a:lnTo>
                    <a:pt x="877627" y="302212"/>
                  </a:lnTo>
                  <a:lnTo>
                    <a:pt x="882998" y="302715"/>
                  </a:lnTo>
                  <a:cubicBezTo>
                    <a:pt x="904066" y="304814"/>
                    <a:pt x="907423" y="295664"/>
                    <a:pt x="912795" y="280553"/>
                  </a:cubicBezTo>
                  <a:cubicBezTo>
                    <a:pt x="914558" y="275684"/>
                    <a:pt x="916321" y="270647"/>
                    <a:pt x="919007" y="265526"/>
                  </a:cubicBezTo>
                  <a:cubicBezTo>
                    <a:pt x="933695" y="236984"/>
                    <a:pt x="946873" y="229849"/>
                    <a:pt x="976502" y="223972"/>
                  </a:cubicBezTo>
                  <a:cubicBezTo>
                    <a:pt x="1011839" y="217005"/>
                    <a:pt x="1040209" y="197613"/>
                    <a:pt x="1063459" y="164789"/>
                  </a:cubicBezTo>
                  <a:cubicBezTo>
                    <a:pt x="1077057" y="145481"/>
                    <a:pt x="1092501" y="123571"/>
                    <a:pt x="1114240" y="109132"/>
                  </a:cubicBezTo>
                  <a:cubicBezTo>
                    <a:pt x="1128089" y="99898"/>
                    <a:pt x="1143953" y="95784"/>
                    <a:pt x="1159313" y="91839"/>
                  </a:cubicBezTo>
                  <a:cubicBezTo>
                    <a:pt x="1167287" y="89824"/>
                    <a:pt x="1175513" y="87641"/>
                    <a:pt x="1183486" y="84871"/>
                  </a:cubicBezTo>
                  <a:cubicBezTo>
                    <a:pt x="1226797" y="69425"/>
                    <a:pt x="1242745" y="47514"/>
                    <a:pt x="1244423" y="0"/>
                  </a:cubicBezTo>
                  <a:cubicBezTo>
                    <a:pt x="694983" y="71356"/>
                    <a:pt x="338679" y="79750"/>
                    <a:pt x="296795" y="80506"/>
                  </a:cubicBezTo>
                  <a:lnTo>
                    <a:pt x="296124" y="129195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47252169-5262-0EAA-DF28-E42A60292BF4}"/>
                </a:ext>
              </a:extLst>
            </p:cNvPr>
            <p:cNvSpPr/>
            <p:nvPr/>
          </p:nvSpPr>
          <p:spPr>
            <a:xfrm>
              <a:off x="9271697" y="3866426"/>
              <a:ext cx="962310" cy="505118"/>
            </a:xfrm>
            <a:custGeom>
              <a:avLst/>
              <a:gdLst>
                <a:gd name="connsiteX0" fmla="*/ 962821 w 1065389"/>
                <a:gd name="connsiteY0" fmla="*/ 148050 h 559225"/>
                <a:gd name="connsiteX1" fmla="*/ 967185 w 1065389"/>
                <a:gd name="connsiteY1" fmla="*/ 88279 h 559225"/>
                <a:gd name="connsiteX2" fmla="*/ 932436 w 1065389"/>
                <a:gd name="connsiteY2" fmla="*/ 60744 h 559225"/>
                <a:gd name="connsiteX3" fmla="*/ 888706 w 1065389"/>
                <a:gd name="connsiteY3" fmla="*/ 40177 h 559225"/>
                <a:gd name="connsiteX4" fmla="*/ 878130 w 1065389"/>
                <a:gd name="connsiteY4" fmla="*/ 50251 h 559225"/>
                <a:gd name="connsiteX5" fmla="*/ 872507 w 1065389"/>
                <a:gd name="connsiteY5" fmla="*/ 56882 h 559225"/>
                <a:gd name="connsiteX6" fmla="*/ 853286 w 1065389"/>
                <a:gd name="connsiteY6" fmla="*/ 68551 h 559225"/>
                <a:gd name="connsiteX7" fmla="*/ 792433 w 1065389"/>
                <a:gd name="connsiteY7" fmla="*/ 74008 h 559225"/>
                <a:gd name="connsiteX8" fmla="*/ 774302 w 1065389"/>
                <a:gd name="connsiteY8" fmla="*/ 66452 h 559225"/>
                <a:gd name="connsiteX9" fmla="*/ 767336 w 1065389"/>
                <a:gd name="connsiteY9" fmla="*/ 62591 h 559225"/>
                <a:gd name="connsiteX10" fmla="*/ 745765 w 1065389"/>
                <a:gd name="connsiteY10" fmla="*/ 56463 h 559225"/>
                <a:gd name="connsiteX11" fmla="*/ 743750 w 1065389"/>
                <a:gd name="connsiteY11" fmla="*/ 56043 h 559225"/>
                <a:gd name="connsiteX12" fmla="*/ 704384 w 1065389"/>
                <a:gd name="connsiteY12" fmla="*/ 29935 h 559225"/>
                <a:gd name="connsiteX13" fmla="*/ 669215 w 1065389"/>
                <a:gd name="connsiteY13" fmla="*/ 554 h 559225"/>
                <a:gd name="connsiteX14" fmla="*/ 649407 w 1065389"/>
                <a:gd name="connsiteY14" fmla="*/ 1225 h 559225"/>
                <a:gd name="connsiteX15" fmla="*/ 642776 w 1065389"/>
                <a:gd name="connsiteY15" fmla="*/ 2065 h 559225"/>
                <a:gd name="connsiteX16" fmla="*/ 628255 w 1065389"/>
                <a:gd name="connsiteY16" fmla="*/ 2233 h 559225"/>
                <a:gd name="connsiteX17" fmla="*/ 628255 w 1065389"/>
                <a:gd name="connsiteY17" fmla="*/ 5590 h 559225"/>
                <a:gd name="connsiteX18" fmla="*/ 629850 w 1065389"/>
                <a:gd name="connsiteY18" fmla="*/ 33545 h 559225"/>
                <a:gd name="connsiteX19" fmla="*/ 632116 w 1065389"/>
                <a:gd name="connsiteY19" fmla="*/ 41604 h 559225"/>
                <a:gd name="connsiteX20" fmla="*/ 632368 w 1065389"/>
                <a:gd name="connsiteY20" fmla="*/ 63262 h 559225"/>
                <a:gd name="connsiteX21" fmla="*/ 598878 w 1065389"/>
                <a:gd name="connsiteY21" fmla="*/ 90965 h 559225"/>
                <a:gd name="connsiteX22" fmla="*/ 575208 w 1065389"/>
                <a:gd name="connsiteY22" fmla="*/ 88531 h 559225"/>
                <a:gd name="connsiteX23" fmla="*/ 550951 w 1065389"/>
                <a:gd name="connsiteY23" fmla="*/ 95414 h 559225"/>
                <a:gd name="connsiteX24" fmla="*/ 546335 w 1065389"/>
                <a:gd name="connsiteY24" fmla="*/ 110357 h 559225"/>
                <a:gd name="connsiteX25" fmla="*/ 526190 w 1065389"/>
                <a:gd name="connsiteY25" fmla="*/ 156444 h 559225"/>
                <a:gd name="connsiteX26" fmla="*/ 516873 w 1065389"/>
                <a:gd name="connsiteY26" fmla="*/ 168533 h 559225"/>
                <a:gd name="connsiteX27" fmla="*/ 488923 w 1065389"/>
                <a:gd name="connsiteY27" fmla="*/ 210926 h 559225"/>
                <a:gd name="connsiteX28" fmla="*/ 455180 w 1065389"/>
                <a:gd name="connsiteY28" fmla="*/ 228891 h 559225"/>
                <a:gd name="connsiteX29" fmla="*/ 443094 w 1065389"/>
                <a:gd name="connsiteY29" fmla="*/ 220412 h 559225"/>
                <a:gd name="connsiteX30" fmla="*/ 430168 w 1065389"/>
                <a:gd name="connsiteY30" fmla="*/ 212689 h 559225"/>
                <a:gd name="connsiteX31" fmla="*/ 410107 w 1065389"/>
                <a:gd name="connsiteY31" fmla="*/ 237790 h 559225"/>
                <a:gd name="connsiteX32" fmla="*/ 389292 w 1065389"/>
                <a:gd name="connsiteY32" fmla="*/ 267171 h 559225"/>
                <a:gd name="connsiteX33" fmla="*/ 359495 w 1065389"/>
                <a:gd name="connsiteY33" fmla="*/ 256762 h 559225"/>
                <a:gd name="connsiteX34" fmla="*/ 342792 w 1065389"/>
                <a:gd name="connsiteY34" fmla="*/ 270781 h 559225"/>
                <a:gd name="connsiteX35" fmla="*/ 327347 w 1065389"/>
                <a:gd name="connsiteY35" fmla="*/ 284548 h 559225"/>
                <a:gd name="connsiteX36" fmla="*/ 272118 w 1065389"/>
                <a:gd name="connsiteY36" fmla="*/ 269690 h 559225"/>
                <a:gd name="connsiteX37" fmla="*/ 270523 w 1065389"/>
                <a:gd name="connsiteY37" fmla="*/ 268095 h 559225"/>
                <a:gd name="connsiteX38" fmla="*/ 257429 w 1065389"/>
                <a:gd name="connsiteY38" fmla="*/ 263561 h 559225"/>
                <a:gd name="connsiteX39" fmla="*/ 248700 w 1065389"/>
                <a:gd name="connsiteY39" fmla="*/ 272796 h 559225"/>
                <a:gd name="connsiteX40" fmla="*/ 233760 w 1065389"/>
                <a:gd name="connsiteY40" fmla="*/ 286227 h 559225"/>
                <a:gd name="connsiteX41" fmla="*/ 191960 w 1065389"/>
                <a:gd name="connsiteY41" fmla="*/ 294538 h 559225"/>
                <a:gd name="connsiteX42" fmla="*/ 191205 w 1065389"/>
                <a:gd name="connsiteY42" fmla="*/ 324927 h 559225"/>
                <a:gd name="connsiteX43" fmla="*/ 162582 w 1065389"/>
                <a:gd name="connsiteY43" fmla="*/ 371098 h 559225"/>
                <a:gd name="connsiteX44" fmla="*/ 154189 w 1065389"/>
                <a:gd name="connsiteY44" fmla="*/ 375296 h 559225"/>
                <a:gd name="connsiteX45" fmla="*/ 132954 w 1065389"/>
                <a:gd name="connsiteY45" fmla="*/ 393680 h 559225"/>
                <a:gd name="connsiteX46" fmla="*/ 133541 w 1065389"/>
                <a:gd name="connsiteY46" fmla="*/ 405433 h 559225"/>
                <a:gd name="connsiteX47" fmla="*/ 134045 w 1065389"/>
                <a:gd name="connsiteY47" fmla="*/ 409462 h 559225"/>
                <a:gd name="connsiteX48" fmla="*/ 135472 w 1065389"/>
                <a:gd name="connsiteY48" fmla="*/ 415759 h 559225"/>
                <a:gd name="connsiteX49" fmla="*/ 137234 w 1065389"/>
                <a:gd name="connsiteY49" fmla="*/ 427176 h 559225"/>
                <a:gd name="connsiteX50" fmla="*/ 134464 w 1065389"/>
                <a:gd name="connsiteY50" fmla="*/ 436074 h 559225"/>
                <a:gd name="connsiteX51" fmla="*/ 117090 w 1065389"/>
                <a:gd name="connsiteY51" fmla="*/ 443797 h 559225"/>
                <a:gd name="connsiteX52" fmla="*/ 98708 w 1065389"/>
                <a:gd name="connsiteY52" fmla="*/ 436158 h 559225"/>
                <a:gd name="connsiteX53" fmla="*/ 94595 w 1065389"/>
                <a:gd name="connsiteY53" fmla="*/ 433388 h 559225"/>
                <a:gd name="connsiteX54" fmla="*/ 93000 w 1065389"/>
                <a:gd name="connsiteY54" fmla="*/ 432380 h 559225"/>
                <a:gd name="connsiteX55" fmla="*/ 80662 w 1065389"/>
                <a:gd name="connsiteY55" fmla="*/ 424741 h 559225"/>
                <a:gd name="connsiteX56" fmla="*/ 73695 w 1065389"/>
                <a:gd name="connsiteY56" fmla="*/ 420040 h 559225"/>
                <a:gd name="connsiteX57" fmla="*/ 60937 w 1065389"/>
                <a:gd name="connsiteY57" fmla="*/ 415591 h 559225"/>
                <a:gd name="connsiteX58" fmla="*/ 40205 w 1065389"/>
                <a:gd name="connsiteY58" fmla="*/ 431960 h 559225"/>
                <a:gd name="connsiteX59" fmla="*/ 22495 w 1065389"/>
                <a:gd name="connsiteY59" fmla="*/ 446735 h 559225"/>
                <a:gd name="connsiteX60" fmla="*/ 15108 w 1065389"/>
                <a:gd name="connsiteY60" fmla="*/ 452612 h 559225"/>
                <a:gd name="connsiteX61" fmla="*/ 18382 w 1065389"/>
                <a:gd name="connsiteY61" fmla="*/ 453199 h 559225"/>
                <a:gd name="connsiteX62" fmla="*/ 45493 w 1065389"/>
                <a:gd name="connsiteY62" fmla="*/ 466295 h 559225"/>
                <a:gd name="connsiteX63" fmla="*/ 36764 w 1065389"/>
                <a:gd name="connsiteY63" fmla="*/ 517839 h 559225"/>
                <a:gd name="connsiteX64" fmla="*/ 34749 w 1065389"/>
                <a:gd name="connsiteY64" fmla="*/ 519770 h 559225"/>
                <a:gd name="connsiteX65" fmla="*/ 0 w 1065389"/>
                <a:gd name="connsiteY65" fmla="*/ 559225 h 559225"/>
                <a:gd name="connsiteX66" fmla="*/ 189945 w 1065389"/>
                <a:gd name="connsiteY66" fmla="*/ 543275 h 559225"/>
                <a:gd name="connsiteX67" fmla="*/ 190617 w 1065389"/>
                <a:gd name="connsiteY67" fmla="*/ 493998 h 559225"/>
                <a:gd name="connsiteX68" fmla="*/ 194730 w 1065389"/>
                <a:gd name="connsiteY68" fmla="*/ 493998 h 559225"/>
                <a:gd name="connsiteX69" fmla="*/ 894750 w 1065389"/>
                <a:gd name="connsiteY69" fmla="*/ 443377 h 559225"/>
                <a:gd name="connsiteX70" fmla="*/ 1065390 w 1065389"/>
                <a:gd name="connsiteY70" fmla="*/ 254159 h 559225"/>
                <a:gd name="connsiteX71" fmla="*/ 962653 w 1065389"/>
                <a:gd name="connsiteY71" fmla="*/ 148050 h 55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065389" h="559225">
                  <a:moveTo>
                    <a:pt x="962821" y="148050"/>
                  </a:moveTo>
                  <a:cubicBezTo>
                    <a:pt x="958037" y="134786"/>
                    <a:pt x="964835" y="99696"/>
                    <a:pt x="967185" y="88279"/>
                  </a:cubicBezTo>
                  <a:cubicBezTo>
                    <a:pt x="952665" y="81143"/>
                    <a:pt x="942760" y="71573"/>
                    <a:pt x="932436" y="60744"/>
                  </a:cubicBezTo>
                  <a:cubicBezTo>
                    <a:pt x="920350" y="47984"/>
                    <a:pt x="904486" y="34217"/>
                    <a:pt x="888706" y="40177"/>
                  </a:cubicBezTo>
                  <a:cubicBezTo>
                    <a:pt x="884929" y="41604"/>
                    <a:pt x="881488" y="45969"/>
                    <a:pt x="878130" y="50251"/>
                  </a:cubicBezTo>
                  <a:cubicBezTo>
                    <a:pt x="876200" y="52685"/>
                    <a:pt x="874353" y="55035"/>
                    <a:pt x="872507" y="56882"/>
                  </a:cubicBezTo>
                  <a:cubicBezTo>
                    <a:pt x="867387" y="62003"/>
                    <a:pt x="860588" y="66117"/>
                    <a:pt x="853286" y="68551"/>
                  </a:cubicBezTo>
                  <a:cubicBezTo>
                    <a:pt x="835575" y="74427"/>
                    <a:pt x="811738" y="76610"/>
                    <a:pt x="792433" y="74008"/>
                  </a:cubicBezTo>
                  <a:cubicBezTo>
                    <a:pt x="785382" y="73084"/>
                    <a:pt x="779758" y="69726"/>
                    <a:pt x="774302" y="66452"/>
                  </a:cubicBezTo>
                  <a:cubicBezTo>
                    <a:pt x="772036" y="65109"/>
                    <a:pt x="769770" y="63766"/>
                    <a:pt x="767336" y="62591"/>
                  </a:cubicBezTo>
                  <a:cubicBezTo>
                    <a:pt x="760705" y="59401"/>
                    <a:pt x="753150" y="57890"/>
                    <a:pt x="745765" y="56463"/>
                  </a:cubicBezTo>
                  <a:lnTo>
                    <a:pt x="743750" y="56043"/>
                  </a:lnTo>
                  <a:cubicBezTo>
                    <a:pt x="729229" y="53189"/>
                    <a:pt x="716639" y="44878"/>
                    <a:pt x="704384" y="29935"/>
                  </a:cubicBezTo>
                  <a:cubicBezTo>
                    <a:pt x="696075" y="19861"/>
                    <a:pt x="682226" y="2988"/>
                    <a:pt x="669215" y="554"/>
                  </a:cubicBezTo>
                  <a:cubicBezTo>
                    <a:pt x="663088" y="-622"/>
                    <a:pt x="656121" y="302"/>
                    <a:pt x="649407" y="1225"/>
                  </a:cubicBezTo>
                  <a:cubicBezTo>
                    <a:pt x="647141" y="1561"/>
                    <a:pt x="644958" y="1813"/>
                    <a:pt x="642776" y="2065"/>
                  </a:cubicBezTo>
                  <a:cubicBezTo>
                    <a:pt x="637992" y="2568"/>
                    <a:pt x="633039" y="2400"/>
                    <a:pt x="628255" y="2233"/>
                  </a:cubicBezTo>
                  <a:cubicBezTo>
                    <a:pt x="628255" y="3324"/>
                    <a:pt x="628255" y="4499"/>
                    <a:pt x="628255" y="5590"/>
                  </a:cubicBezTo>
                  <a:cubicBezTo>
                    <a:pt x="628255" y="15244"/>
                    <a:pt x="628255" y="24311"/>
                    <a:pt x="629850" y="33545"/>
                  </a:cubicBezTo>
                  <a:cubicBezTo>
                    <a:pt x="630354" y="36483"/>
                    <a:pt x="631277" y="39085"/>
                    <a:pt x="632116" y="41604"/>
                  </a:cubicBezTo>
                  <a:cubicBezTo>
                    <a:pt x="634298" y="47816"/>
                    <a:pt x="636565" y="54196"/>
                    <a:pt x="632368" y="63262"/>
                  </a:cubicBezTo>
                  <a:cubicBezTo>
                    <a:pt x="626577" y="75771"/>
                    <a:pt x="610797" y="86936"/>
                    <a:pt x="598878" y="90965"/>
                  </a:cubicBezTo>
                  <a:cubicBezTo>
                    <a:pt x="591240" y="93567"/>
                    <a:pt x="583098" y="90965"/>
                    <a:pt x="575208" y="88531"/>
                  </a:cubicBezTo>
                  <a:cubicBezTo>
                    <a:pt x="561778" y="84333"/>
                    <a:pt x="555148" y="82822"/>
                    <a:pt x="550951" y="95414"/>
                  </a:cubicBezTo>
                  <a:cubicBezTo>
                    <a:pt x="549272" y="100451"/>
                    <a:pt x="547845" y="105404"/>
                    <a:pt x="546335" y="110357"/>
                  </a:cubicBezTo>
                  <a:cubicBezTo>
                    <a:pt x="541718" y="125971"/>
                    <a:pt x="537017" y="142089"/>
                    <a:pt x="526190" y="156444"/>
                  </a:cubicBezTo>
                  <a:cubicBezTo>
                    <a:pt x="523084" y="160558"/>
                    <a:pt x="519979" y="164503"/>
                    <a:pt x="516873" y="168533"/>
                  </a:cubicBezTo>
                  <a:cubicBezTo>
                    <a:pt x="505962" y="182384"/>
                    <a:pt x="495721" y="195480"/>
                    <a:pt x="488923" y="210926"/>
                  </a:cubicBezTo>
                  <a:cubicBezTo>
                    <a:pt x="478767" y="234180"/>
                    <a:pt x="463406" y="232165"/>
                    <a:pt x="455180" y="228891"/>
                  </a:cubicBezTo>
                  <a:cubicBezTo>
                    <a:pt x="450480" y="227044"/>
                    <a:pt x="446703" y="223686"/>
                    <a:pt x="443094" y="220412"/>
                  </a:cubicBezTo>
                  <a:cubicBezTo>
                    <a:pt x="438814" y="216635"/>
                    <a:pt x="434784" y="213025"/>
                    <a:pt x="430168" y="212689"/>
                  </a:cubicBezTo>
                  <a:cubicBezTo>
                    <a:pt x="422110" y="212018"/>
                    <a:pt x="415983" y="225114"/>
                    <a:pt x="410107" y="237790"/>
                  </a:cubicBezTo>
                  <a:cubicBezTo>
                    <a:pt x="404484" y="249962"/>
                    <a:pt x="398608" y="262554"/>
                    <a:pt x="389292" y="267171"/>
                  </a:cubicBezTo>
                  <a:cubicBezTo>
                    <a:pt x="380898" y="271285"/>
                    <a:pt x="369063" y="272712"/>
                    <a:pt x="359495" y="256762"/>
                  </a:cubicBezTo>
                  <a:cubicBezTo>
                    <a:pt x="355130" y="257517"/>
                    <a:pt x="347828" y="265408"/>
                    <a:pt x="342792" y="270781"/>
                  </a:cubicBezTo>
                  <a:cubicBezTo>
                    <a:pt x="337420" y="276573"/>
                    <a:pt x="332300" y="282030"/>
                    <a:pt x="327347" y="284548"/>
                  </a:cubicBezTo>
                  <a:cubicBezTo>
                    <a:pt x="303090" y="296637"/>
                    <a:pt x="284204" y="281862"/>
                    <a:pt x="272118" y="269690"/>
                  </a:cubicBezTo>
                  <a:lnTo>
                    <a:pt x="270523" y="268095"/>
                  </a:lnTo>
                  <a:cubicBezTo>
                    <a:pt x="263389" y="260875"/>
                    <a:pt x="262046" y="260036"/>
                    <a:pt x="257429" y="263561"/>
                  </a:cubicBezTo>
                  <a:cubicBezTo>
                    <a:pt x="253736" y="266416"/>
                    <a:pt x="251302" y="269522"/>
                    <a:pt x="248700" y="272796"/>
                  </a:cubicBezTo>
                  <a:cubicBezTo>
                    <a:pt x="244923" y="277497"/>
                    <a:pt x="241062" y="282450"/>
                    <a:pt x="233760" y="286227"/>
                  </a:cubicBezTo>
                  <a:cubicBezTo>
                    <a:pt x="219071" y="293867"/>
                    <a:pt x="207152" y="294538"/>
                    <a:pt x="191960" y="294538"/>
                  </a:cubicBezTo>
                  <a:cubicBezTo>
                    <a:pt x="192379" y="304780"/>
                    <a:pt x="192547" y="315189"/>
                    <a:pt x="191205" y="324927"/>
                  </a:cubicBezTo>
                  <a:cubicBezTo>
                    <a:pt x="188854" y="341129"/>
                    <a:pt x="178278" y="362200"/>
                    <a:pt x="162582" y="371098"/>
                  </a:cubicBezTo>
                  <a:cubicBezTo>
                    <a:pt x="160065" y="372526"/>
                    <a:pt x="157210" y="373869"/>
                    <a:pt x="154189" y="375296"/>
                  </a:cubicBezTo>
                  <a:cubicBezTo>
                    <a:pt x="144704" y="379745"/>
                    <a:pt x="133877" y="384782"/>
                    <a:pt x="132954" y="393680"/>
                  </a:cubicBezTo>
                  <a:cubicBezTo>
                    <a:pt x="132534" y="397458"/>
                    <a:pt x="133038" y="401488"/>
                    <a:pt x="133541" y="405433"/>
                  </a:cubicBezTo>
                  <a:cubicBezTo>
                    <a:pt x="133709" y="406776"/>
                    <a:pt x="133877" y="408203"/>
                    <a:pt x="134045" y="409462"/>
                  </a:cubicBezTo>
                  <a:cubicBezTo>
                    <a:pt x="134212" y="411477"/>
                    <a:pt x="134884" y="413576"/>
                    <a:pt x="135472" y="415759"/>
                  </a:cubicBezTo>
                  <a:cubicBezTo>
                    <a:pt x="136479" y="419116"/>
                    <a:pt x="137570" y="422978"/>
                    <a:pt x="137234" y="427176"/>
                  </a:cubicBezTo>
                  <a:cubicBezTo>
                    <a:pt x="136898" y="430701"/>
                    <a:pt x="136059" y="433388"/>
                    <a:pt x="134464" y="436074"/>
                  </a:cubicBezTo>
                  <a:cubicBezTo>
                    <a:pt x="131023" y="441866"/>
                    <a:pt x="124812" y="444637"/>
                    <a:pt x="117090" y="443797"/>
                  </a:cubicBezTo>
                  <a:cubicBezTo>
                    <a:pt x="108444" y="442874"/>
                    <a:pt x="104164" y="439936"/>
                    <a:pt x="98708" y="436158"/>
                  </a:cubicBezTo>
                  <a:cubicBezTo>
                    <a:pt x="97449" y="435319"/>
                    <a:pt x="96106" y="434395"/>
                    <a:pt x="94595" y="433388"/>
                  </a:cubicBezTo>
                  <a:lnTo>
                    <a:pt x="93000" y="432380"/>
                  </a:lnTo>
                  <a:cubicBezTo>
                    <a:pt x="88972" y="429694"/>
                    <a:pt x="85026" y="427176"/>
                    <a:pt x="80662" y="424741"/>
                  </a:cubicBezTo>
                  <a:cubicBezTo>
                    <a:pt x="77892" y="423230"/>
                    <a:pt x="75710" y="421551"/>
                    <a:pt x="73695" y="420040"/>
                  </a:cubicBezTo>
                  <a:cubicBezTo>
                    <a:pt x="69247" y="416682"/>
                    <a:pt x="66645" y="414667"/>
                    <a:pt x="60937" y="415591"/>
                  </a:cubicBezTo>
                  <a:cubicBezTo>
                    <a:pt x="52040" y="417018"/>
                    <a:pt x="45745" y="424993"/>
                    <a:pt x="40205" y="431960"/>
                  </a:cubicBezTo>
                  <a:cubicBezTo>
                    <a:pt x="35001" y="438592"/>
                    <a:pt x="29293" y="442370"/>
                    <a:pt x="22495" y="446735"/>
                  </a:cubicBezTo>
                  <a:cubicBezTo>
                    <a:pt x="19893" y="448414"/>
                    <a:pt x="17543" y="450429"/>
                    <a:pt x="15108" y="452612"/>
                  </a:cubicBezTo>
                  <a:cubicBezTo>
                    <a:pt x="16199" y="452780"/>
                    <a:pt x="17291" y="453031"/>
                    <a:pt x="18382" y="453199"/>
                  </a:cubicBezTo>
                  <a:cubicBezTo>
                    <a:pt x="27867" y="454794"/>
                    <a:pt x="38611" y="456557"/>
                    <a:pt x="45493" y="466295"/>
                  </a:cubicBezTo>
                  <a:cubicBezTo>
                    <a:pt x="56153" y="481154"/>
                    <a:pt x="47675" y="507430"/>
                    <a:pt x="36764" y="517839"/>
                  </a:cubicBezTo>
                  <a:lnTo>
                    <a:pt x="34749" y="519770"/>
                  </a:lnTo>
                  <a:cubicBezTo>
                    <a:pt x="22495" y="531438"/>
                    <a:pt x="8897" y="544366"/>
                    <a:pt x="0" y="559225"/>
                  </a:cubicBezTo>
                  <a:lnTo>
                    <a:pt x="189945" y="543275"/>
                  </a:lnTo>
                  <a:lnTo>
                    <a:pt x="190617" y="493998"/>
                  </a:lnTo>
                  <a:lnTo>
                    <a:pt x="194730" y="493998"/>
                  </a:lnTo>
                  <a:cubicBezTo>
                    <a:pt x="199095" y="493998"/>
                    <a:pt x="461476" y="490388"/>
                    <a:pt x="894750" y="443377"/>
                  </a:cubicBezTo>
                  <a:lnTo>
                    <a:pt x="1065390" y="254159"/>
                  </a:lnTo>
                  <a:cubicBezTo>
                    <a:pt x="1048015" y="240308"/>
                    <a:pt x="974236" y="180453"/>
                    <a:pt x="962653" y="14805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54EA4E51-19B5-ED84-35A8-FF18A41711B8}"/>
                </a:ext>
              </a:extLst>
            </p:cNvPr>
            <p:cNvSpPr/>
            <p:nvPr/>
          </p:nvSpPr>
          <p:spPr>
            <a:xfrm>
              <a:off x="7578006" y="3777528"/>
              <a:ext cx="987783" cy="536920"/>
            </a:xfrm>
            <a:custGeom>
              <a:avLst/>
              <a:gdLst>
                <a:gd name="connsiteX0" fmla="*/ 0 w 1093591"/>
                <a:gd name="connsiteY0" fmla="*/ 554306 h 594433"/>
                <a:gd name="connsiteX1" fmla="*/ 1093592 w 1093591"/>
                <a:gd name="connsiteY1" fmla="*/ 594433 h 594433"/>
                <a:gd name="connsiteX2" fmla="*/ 1090151 w 1093591"/>
                <a:gd name="connsiteY2" fmla="*/ 186196 h 594433"/>
                <a:gd name="connsiteX3" fmla="*/ 1033242 w 1093591"/>
                <a:gd name="connsiteY3" fmla="*/ 135911 h 594433"/>
                <a:gd name="connsiteX4" fmla="*/ 1032991 w 1093591"/>
                <a:gd name="connsiteY4" fmla="*/ 93098 h 594433"/>
                <a:gd name="connsiteX5" fmla="*/ 1048435 w 1093591"/>
                <a:gd name="connsiteY5" fmla="*/ 78491 h 594433"/>
                <a:gd name="connsiteX6" fmla="*/ 1062368 w 1093591"/>
                <a:gd name="connsiteY6" fmla="*/ 64472 h 594433"/>
                <a:gd name="connsiteX7" fmla="*/ 1061361 w 1093591"/>
                <a:gd name="connsiteY7" fmla="*/ 57840 h 594433"/>
                <a:gd name="connsiteX8" fmla="*/ 1035089 w 1093591"/>
                <a:gd name="connsiteY8" fmla="*/ 44576 h 594433"/>
                <a:gd name="connsiteX9" fmla="*/ 1021995 w 1093591"/>
                <a:gd name="connsiteY9" fmla="*/ 43905 h 594433"/>
                <a:gd name="connsiteX10" fmla="*/ 994968 w 1093591"/>
                <a:gd name="connsiteY10" fmla="*/ 36433 h 594433"/>
                <a:gd name="connsiteX11" fmla="*/ 29210 w 1093591"/>
                <a:gd name="connsiteY11" fmla="*/ 0 h 594433"/>
                <a:gd name="connsiteX12" fmla="*/ 84 w 1093591"/>
                <a:gd name="connsiteY12" fmla="*/ 554223 h 59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93591" h="594433">
                  <a:moveTo>
                    <a:pt x="0" y="554306"/>
                  </a:moveTo>
                  <a:cubicBezTo>
                    <a:pt x="314505" y="572691"/>
                    <a:pt x="677357" y="587130"/>
                    <a:pt x="1093592" y="594433"/>
                  </a:cubicBezTo>
                  <a:lnTo>
                    <a:pt x="1090151" y="186196"/>
                  </a:lnTo>
                  <a:cubicBezTo>
                    <a:pt x="1075126" y="176710"/>
                    <a:pt x="1040377" y="150938"/>
                    <a:pt x="1033242" y="135911"/>
                  </a:cubicBezTo>
                  <a:cubicBezTo>
                    <a:pt x="1025856" y="120297"/>
                    <a:pt x="1025772" y="105522"/>
                    <a:pt x="1032991" y="93098"/>
                  </a:cubicBezTo>
                  <a:cubicBezTo>
                    <a:pt x="1036264" y="87474"/>
                    <a:pt x="1042475" y="82940"/>
                    <a:pt x="1048435" y="78491"/>
                  </a:cubicBezTo>
                  <a:cubicBezTo>
                    <a:pt x="1054562" y="73958"/>
                    <a:pt x="1060941" y="69173"/>
                    <a:pt x="1062368" y="64472"/>
                  </a:cubicBezTo>
                  <a:cubicBezTo>
                    <a:pt x="1063039" y="62121"/>
                    <a:pt x="1062704" y="60023"/>
                    <a:pt x="1061361" y="57840"/>
                  </a:cubicBezTo>
                  <a:cubicBezTo>
                    <a:pt x="1056828" y="50704"/>
                    <a:pt x="1042979" y="45752"/>
                    <a:pt x="1035089" y="44576"/>
                  </a:cubicBezTo>
                  <a:cubicBezTo>
                    <a:pt x="1030389" y="43905"/>
                    <a:pt x="1026108" y="43905"/>
                    <a:pt x="1021995" y="43905"/>
                  </a:cubicBezTo>
                  <a:cubicBezTo>
                    <a:pt x="1012930" y="43905"/>
                    <a:pt x="1004285" y="43905"/>
                    <a:pt x="994968" y="36433"/>
                  </a:cubicBezTo>
                  <a:cubicBezTo>
                    <a:pt x="963492" y="35846"/>
                    <a:pt x="372504" y="24177"/>
                    <a:pt x="29210" y="0"/>
                  </a:cubicBezTo>
                  <a:lnTo>
                    <a:pt x="84" y="554223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C6EFEDC7-F0FE-2E87-4BEB-E62FF7DD466B}"/>
                </a:ext>
              </a:extLst>
            </p:cNvPr>
            <p:cNvSpPr/>
            <p:nvPr/>
          </p:nvSpPr>
          <p:spPr>
            <a:xfrm>
              <a:off x="5713734" y="4087124"/>
              <a:ext cx="918034" cy="1066940"/>
            </a:xfrm>
            <a:custGeom>
              <a:avLst/>
              <a:gdLst>
                <a:gd name="connsiteX0" fmla="*/ 292095 w 1016371"/>
                <a:gd name="connsiteY0" fmla="*/ 0 h 1181227"/>
                <a:gd name="connsiteX1" fmla="*/ 268425 w 1016371"/>
                <a:gd name="connsiteY1" fmla="*/ 124410 h 1181227"/>
                <a:gd name="connsiteX2" fmla="*/ 268341 w 1016371"/>
                <a:gd name="connsiteY2" fmla="*/ 133729 h 1181227"/>
                <a:gd name="connsiteX3" fmla="*/ 266578 w 1016371"/>
                <a:gd name="connsiteY3" fmla="*/ 157906 h 1181227"/>
                <a:gd name="connsiteX4" fmla="*/ 257345 w 1016371"/>
                <a:gd name="connsiteY4" fmla="*/ 171505 h 1181227"/>
                <a:gd name="connsiteX5" fmla="*/ 233088 w 1016371"/>
                <a:gd name="connsiteY5" fmla="*/ 167979 h 1181227"/>
                <a:gd name="connsiteX6" fmla="*/ 227464 w 1016371"/>
                <a:gd name="connsiteY6" fmla="*/ 165713 h 1181227"/>
                <a:gd name="connsiteX7" fmla="*/ 221169 w 1016371"/>
                <a:gd name="connsiteY7" fmla="*/ 163614 h 1181227"/>
                <a:gd name="connsiteX8" fmla="*/ 205054 w 1016371"/>
                <a:gd name="connsiteY8" fmla="*/ 154631 h 1181227"/>
                <a:gd name="connsiteX9" fmla="*/ 200102 w 1016371"/>
                <a:gd name="connsiteY9" fmla="*/ 147748 h 1181227"/>
                <a:gd name="connsiteX10" fmla="*/ 194562 w 1016371"/>
                <a:gd name="connsiteY10" fmla="*/ 141032 h 1181227"/>
                <a:gd name="connsiteX11" fmla="*/ 162163 w 1016371"/>
                <a:gd name="connsiteY11" fmla="*/ 146824 h 1181227"/>
                <a:gd name="connsiteX12" fmla="*/ 151671 w 1016371"/>
                <a:gd name="connsiteY12" fmla="*/ 197445 h 1181227"/>
                <a:gd name="connsiteX13" fmla="*/ 150748 w 1016371"/>
                <a:gd name="connsiteY13" fmla="*/ 221454 h 1181227"/>
                <a:gd name="connsiteX14" fmla="*/ 148146 w 1016371"/>
                <a:gd name="connsiteY14" fmla="*/ 299861 h 1181227"/>
                <a:gd name="connsiteX15" fmla="*/ 137150 w 1016371"/>
                <a:gd name="connsiteY15" fmla="*/ 339904 h 1181227"/>
                <a:gd name="connsiteX16" fmla="*/ 127078 w 1016371"/>
                <a:gd name="connsiteY16" fmla="*/ 369034 h 1181227"/>
                <a:gd name="connsiteX17" fmla="*/ 148565 w 1016371"/>
                <a:gd name="connsiteY17" fmla="*/ 442404 h 1181227"/>
                <a:gd name="connsiteX18" fmla="*/ 153434 w 1016371"/>
                <a:gd name="connsiteY18" fmla="*/ 452562 h 1181227"/>
                <a:gd name="connsiteX19" fmla="*/ 169465 w 1016371"/>
                <a:gd name="connsiteY19" fmla="*/ 483370 h 1181227"/>
                <a:gd name="connsiteX20" fmla="*/ 160736 w 1016371"/>
                <a:gd name="connsiteY20" fmla="*/ 525177 h 1181227"/>
                <a:gd name="connsiteX21" fmla="*/ 135052 w 1016371"/>
                <a:gd name="connsiteY21" fmla="*/ 543141 h 1181227"/>
                <a:gd name="connsiteX22" fmla="*/ 104248 w 1016371"/>
                <a:gd name="connsiteY22" fmla="*/ 579994 h 1181227"/>
                <a:gd name="connsiteX23" fmla="*/ 103240 w 1016371"/>
                <a:gd name="connsiteY23" fmla="*/ 596868 h 1181227"/>
                <a:gd name="connsiteX24" fmla="*/ 101813 w 1016371"/>
                <a:gd name="connsiteY24" fmla="*/ 616512 h 1181227"/>
                <a:gd name="connsiteX25" fmla="*/ 82257 w 1016371"/>
                <a:gd name="connsiteY25" fmla="*/ 646901 h 1181227"/>
                <a:gd name="connsiteX26" fmla="*/ 76717 w 1016371"/>
                <a:gd name="connsiteY26" fmla="*/ 652777 h 1181227"/>
                <a:gd name="connsiteX27" fmla="*/ 50025 w 1016371"/>
                <a:gd name="connsiteY27" fmla="*/ 697773 h 1181227"/>
                <a:gd name="connsiteX28" fmla="*/ 59594 w 1016371"/>
                <a:gd name="connsiteY28" fmla="*/ 716493 h 1181227"/>
                <a:gd name="connsiteX29" fmla="*/ 69834 w 1016371"/>
                <a:gd name="connsiteY29" fmla="*/ 722537 h 1181227"/>
                <a:gd name="connsiteX30" fmla="*/ 85110 w 1016371"/>
                <a:gd name="connsiteY30" fmla="*/ 742685 h 1181227"/>
                <a:gd name="connsiteX31" fmla="*/ 65134 w 1016371"/>
                <a:gd name="connsiteY31" fmla="*/ 772150 h 1181227"/>
                <a:gd name="connsiteX32" fmla="*/ 0 w 1016371"/>
                <a:gd name="connsiteY32" fmla="*/ 794061 h 1181227"/>
                <a:gd name="connsiteX33" fmla="*/ 15864 w 1016371"/>
                <a:gd name="connsiteY33" fmla="*/ 820924 h 1181227"/>
                <a:gd name="connsiteX34" fmla="*/ 69918 w 1016371"/>
                <a:gd name="connsiteY34" fmla="*/ 871544 h 1181227"/>
                <a:gd name="connsiteX35" fmla="*/ 252057 w 1016371"/>
                <a:gd name="connsiteY35" fmla="*/ 973289 h 1181227"/>
                <a:gd name="connsiteX36" fmla="*/ 416151 w 1016371"/>
                <a:gd name="connsiteY36" fmla="*/ 1068821 h 1181227"/>
                <a:gd name="connsiteX37" fmla="*/ 585532 w 1016371"/>
                <a:gd name="connsiteY37" fmla="*/ 1143367 h 1181227"/>
                <a:gd name="connsiteX38" fmla="*/ 733594 w 1016371"/>
                <a:gd name="connsiteY38" fmla="*/ 1158561 h 1181227"/>
                <a:gd name="connsiteX39" fmla="*/ 870492 w 1016371"/>
                <a:gd name="connsiteY39" fmla="*/ 1181227 h 1181227"/>
                <a:gd name="connsiteX40" fmla="*/ 1016371 w 1016371"/>
                <a:gd name="connsiteY40" fmla="*/ 127852 h 1181227"/>
                <a:gd name="connsiteX41" fmla="*/ 292430 w 1016371"/>
                <a:gd name="connsiteY41" fmla="*/ 168 h 118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16371" h="1181227">
                  <a:moveTo>
                    <a:pt x="292095" y="0"/>
                  </a:moveTo>
                  <a:lnTo>
                    <a:pt x="268425" y="124410"/>
                  </a:lnTo>
                  <a:cubicBezTo>
                    <a:pt x="268341" y="127432"/>
                    <a:pt x="268341" y="130538"/>
                    <a:pt x="268341" y="133729"/>
                  </a:cubicBezTo>
                  <a:cubicBezTo>
                    <a:pt x="268341" y="142207"/>
                    <a:pt x="268341" y="150938"/>
                    <a:pt x="266578" y="157906"/>
                  </a:cubicBezTo>
                  <a:cubicBezTo>
                    <a:pt x="264732" y="164873"/>
                    <a:pt x="261710" y="169322"/>
                    <a:pt x="257345" y="171505"/>
                  </a:cubicBezTo>
                  <a:cubicBezTo>
                    <a:pt x="250295" y="175031"/>
                    <a:pt x="241901" y="171505"/>
                    <a:pt x="233088" y="167979"/>
                  </a:cubicBezTo>
                  <a:cubicBezTo>
                    <a:pt x="231242" y="167224"/>
                    <a:pt x="229311" y="166468"/>
                    <a:pt x="227464" y="165713"/>
                  </a:cubicBezTo>
                  <a:cubicBezTo>
                    <a:pt x="225114" y="164789"/>
                    <a:pt x="223016" y="164202"/>
                    <a:pt x="221169" y="163614"/>
                  </a:cubicBezTo>
                  <a:cubicBezTo>
                    <a:pt x="215713" y="161935"/>
                    <a:pt x="211013" y="160424"/>
                    <a:pt x="205054" y="154631"/>
                  </a:cubicBezTo>
                  <a:cubicBezTo>
                    <a:pt x="202955" y="152617"/>
                    <a:pt x="201528" y="150182"/>
                    <a:pt x="200102" y="147748"/>
                  </a:cubicBezTo>
                  <a:cubicBezTo>
                    <a:pt x="198423" y="144893"/>
                    <a:pt x="196828" y="142291"/>
                    <a:pt x="194562" y="141032"/>
                  </a:cubicBezTo>
                  <a:cubicBezTo>
                    <a:pt x="185497" y="136079"/>
                    <a:pt x="169465" y="138933"/>
                    <a:pt x="162163" y="146824"/>
                  </a:cubicBezTo>
                  <a:cubicBezTo>
                    <a:pt x="151671" y="158157"/>
                    <a:pt x="151671" y="178137"/>
                    <a:pt x="151671" y="197445"/>
                  </a:cubicBezTo>
                  <a:cubicBezTo>
                    <a:pt x="151671" y="206091"/>
                    <a:pt x="151671" y="214150"/>
                    <a:pt x="150748" y="221454"/>
                  </a:cubicBezTo>
                  <a:cubicBezTo>
                    <a:pt x="146635" y="253522"/>
                    <a:pt x="145795" y="276943"/>
                    <a:pt x="148146" y="299861"/>
                  </a:cubicBezTo>
                  <a:cubicBezTo>
                    <a:pt x="149908" y="317238"/>
                    <a:pt x="143361" y="328739"/>
                    <a:pt x="137150" y="339904"/>
                  </a:cubicBezTo>
                  <a:cubicBezTo>
                    <a:pt x="132030" y="348970"/>
                    <a:pt x="127246" y="357533"/>
                    <a:pt x="127078" y="369034"/>
                  </a:cubicBezTo>
                  <a:cubicBezTo>
                    <a:pt x="126742" y="396736"/>
                    <a:pt x="136898" y="417891"/>
                    <a:pt x="148565" y="442404"/>
                  </a:cubicBezTo>
                  <a:lnTo>
                    <a:pt x="153434" y="452562"/>
                  </a:lnTo>
                  <a:cubicBezTo>
                    <a:pt x="158554" y="463559"/>
                    <a:pt x="163086" y="472961"/>
                    <a:pt x="169465" y="483370"/>
                  </a:cubicBezTo>
                  <a:cubicBezTo>
                    <a:pt x="178278" y="497474"/>
                    <a:pt x="175425" y="511157"/>
                    <a:pt x="160736" y="525177"/>
                  </a:cubicBezTo>
                  <a:cubicBezTo>
                    <a:pt x="152175" y="533319"/>
                    <a:pt x="143110" y="538524"/>
                    <a:pt x="135052" y="543141"/>
                  </a:cubicBezTo>
                  <a:cubicBezTo>
                    <a:pt x="120111" y="551704"/>
                    <a:pt x="108360" y="558420"/>
                    <a:pt x="104248" y="579994"/>
                  </a:cubicBezTo>
                  <a:cubicBezTo>
                    <a:pt x="103240" y="585283"/>
                    <a:pt x="103240" y="590907"/>
                    <a:pt x="103240" y="596868"/>
                  </a:cubicBezTo>
                  <a:cubicBezTo>
                    <a:pt x="103240" y="603332"/>
                    <a:pt x="103240" y="610131"/>
                    <a:pt x="101813" y="616512"/>
                  </a:cubicBezTo>
                  <a:cubicBezTo>
                    <a:pt x="98792" y="629691"/>
                    <a:pt x="90398" y="638422"/>
                    <a:pt x="82257" y="646901"/>
                  </a:cubicBezTo>
                  <a:lnTo>
                    <a:pt x="76717" y="652777"/>
                  </a:lnTo>
                  <a:cubicBezTo>
                    <a:pt x="65218" y="664949"/>
                    <a:pt x="49522" y="681739"/>
                    <a:pt x="50025" y="697773"/>
                  </a:cubicBezTo>
                  <a:cubicBezTo>
                    <a:pt x="50277" y="704573"/>
                    <a:pt x="53383" y="710701"/>
                    <a:pt x="59594" y="716493"/>
                  </a:cubicBezTo>
                  <a:cubicBezTo>
                    <a:pt x="62867" y="719515"/>
                    <a:pt x="66393" y="721026"/>
                    <a:pt x="69834" y="722537"/>
                  </a:cubicBezTo>
                  <a:cubicBezTo>
                    <a:pt x="76549" y="725392"/>
                    <a:pt x="84103" y="728750"/>
                    <a:pt x="85110" y="742685"/>
                  </a:cubicBezTo>
                  <a:cubicBezTo>
                    <a:pt x="86201" y="758467"/>
                    <a:pt x="76129" y="766190"/>
                    <a:pt x="65134" y="772150"/>
                  </a:cubicBezTo>
                  <a:cubicBezTo>
                    <a:pt x="48179" y="781385"/>
                    <a:pt x="20732" y="789612"/>
                    <a:pt x="0" y="794061"/>
                  </a:cubicBezTo>
                  <a:cubicBezTo>
                    <a:pt x="6211" y="801868"/>
                    <a:pt x="10744" y="810766"/>
                    <a:pt x="15864" y="820924"/>
                  </a:cubicBezTo>
                  <a:cubicBezTo>
                    <a:pt x="27279" y="843506"/>
                    <a:pt x="49606" y="856098"/>
                    <a:pt x="69918" y="871544"/>
                  </a:cubicBezTo>
                  <a:cubicBezTo>
                    <a:pt x="122713" y="911419"/>
                    <a:pt x="186840" y="956332"/>
                    <a:pt x="252057" y="973289"/>
                  </a:cubicBezTo>
                  <a:cubicBezTo>
                    <a:pt x="319709" y="990834"/>
                    <a:pt x="362013" y="1031633"/>
                    <a:pt x="416151" y="1068821"/>
                  </a:cubicBezTo>
                  <a:cubicBezTo>
                    <a:pt x="463910" y="1101645"/>
                    <a:pt x="530303" y="1123807"/>
                    <a:pt x="585532" y="1143367"/>
                  </a:cubicBezTo>
                  <a:cubicBezTo>
                    <a:pt x="631864" y="1159737"/>
                    <a:pt x="684156" y="1156127"/>
                    <a:pt x="733594" y="1158561"/>
                  </a:cubicBezTo>
                  <a:cubicBezTo>
                    <a:pt x="780346" y="1160828"/>
                    <a:pt x="824915" y="1173840"/>
                    <a:pt x="870492" y="1181227"/>
                  </a:cubicBezTo>
                  <a:lnTo>
                    <a:pt x="1016371" y="127852"/>
                  </a:lnTo>
                  <a:cubicBezTo>
                    <a:pt x="520566" y="65731"/>
                    <a:pt x="308882" y="5121"/>
                    <a:pt x="292430" y="16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0342CD7B-A717-35BE-5BBD-D2B784B5501F}"/>
                </a:ext>
              </a:extLst>
            </p:cNvPr>
            <p:cNvSpPr/>
            <p:nvPr/>
          </p:nvSpPr>
          <p:spPr>
            <a:xfrm>
              <a:off x="4793115" y="2937837"/>
              <a:ext cx="1070432" cy="1859771"/>
            </a:xfrm>
            <a:custGeom>
              <a:avLst/>
              <a:gdLst>
                <a:gd name="connsiteX0" fmla="*/ 1095697 w 1185093"/>
                <a:gd name="connsiteY0" fmla="*/ 2015499 h 2058983"/>
                <a:gd name="connsiteX1" fmla="*/ 1085457 w 1185093"/>
                <a:gd name="connsiteY1" fmla="*/ 2002487 h 2058983"/>
                <a:gd name="connsiteX2" fmla="*/ 1072867 w 1185093"/>
                <a:gd name="connsiteY2" fmla="*/ 1994848 h 2058983"/>
                <a:gd name="connsiteX3" fmla="*/ 1060612 w 1185093"/>
                <a:gd name="connsiteY3" fmla="*/ 1970252 h 2058983"/>
                <a:gd name="connsiteX4" fmla="*/ 1089570 w 1185093"/>
                <a:gd name="connsiteY4" fmla="*/ 1919295 h 2058983"/>
                <a:gd name="connsiteX5" fmla="*/ 1095194 w 1185093"/>
                <a:gd name="connsiteY5" fmla="*/ 1913335 h 2058983"/>
                <a:gd name="connsiteX6" fmla="*/ 1112652 w 1185093"/>
                <a:gd name="connsiteY6" fmla="*/ 1886975 h 2058983"/>
                <a:gd name="connsiteX7" fmla="*/ 1113827 w 1185093"/>
                <a:gd name="connsiteY7" fmla="*/ 1869262 h 2058983"/>
                <a:gd name="connsiteX8" fmla="*/ 1115003 w 1185093"/>
                <a:gd name="connsiteY8" fmla="*/ 1850794 h 2058983"/>
                <a:gd name="connsiteX9" fmla="*/ 1149919 w 1185093"/>
                <a:gd name="connsiteY9" fmla="*/ 1808232 h 2058983"/>
                <a:gd name="connsiteX10" fmla="*/ 1174009 w 1185093"/>
                <a:gd name="connsiteY10" fmla="*/ 1791443 h 2058983"/>
                <a:gd name="connsiteX11" fmla="*/ 1181395 w 1185093"/>
                <a:gd name="connsiteY11" fmla="*/ 1760130 h 2058983"/>
                <a:gd name="connsiteX12" fmla="*/ 1164860 w 1185093"/>
                <a:gd name="connsiteY12" fmla="*/ 1728482 h 2058983"/>
                <a:gd name="connsiteX13" fmla="*/ 1160076 w 1185093"/>
                <a:gd name="connsiteY13" fmla="*/ 1718325 h 2058983"/>
                <a:gd name="connsiteX14" fmla="*/ 1137749 w 1185093"/>
                <a:gd name="connsiteY14" fmla="*/ 1641177 h 2058983"/>
                <a:gd name="connsiteX15" fmla="*/ 1139763 w 1185093"/>
                <a:gd name="connsiteY15" fmla="*/ 1627829 h 2058983"/>
                <a:gd name="connsiteX16" fmla="*/ 537780 w 1185093"/>
                <a:gd name="connsiteY16" fmla="*/ 700543 h 2058983"/>
                <a:gd name="connsiteX17" fmla="*/ 673671 w 1185093"/>
                <a:gd name="connsiteY17" fmla="*/ 170414 h 2058983"/>
                <a:gd name="connsiteX18" fmla="*/ 102240 w 1185093"/>
                <a:gd name="connsiteY18" fmla="*/ 0 h 2058983"/>
                <a:gd name="connsiteX19" fmla="*/ 91329 w 1185093"/>
                <a:gd name="connsiteY19" fmla="*/ 63213 h 2058983"/>
                <a:gd name="connsiteX20" fmla="*/ 84026 w 1185093"/>
                <a:gd name="connsiteY20" fmla="*/ 150014 h 2058983"/>
                <a:gd name="connsiteX21" fmla="*/ 35428 w 1185093"/>
                <a:gd name="connsiteY21" fmla="*/ 223385 h 2058983"/>
                <a:gd name="connsiteX22" fmla="*/ 18641 w 1185093"/>
                <a:gd name="connsiteY22" fmla="*/ 242357 h 2058983"/>
                <a:gd name="connsiteX23" fmla="*/ 2106 w 1185093"/>
                <a:gd name="connsiteY23" fmla="*/ 253774 h 2058983"/>
                <a:gd name="connsiteX24" fmla="*/ 1770 w 1185093"/>
                <a:gd name="connsiteY24" fmla="*/ 276188 h 2058983"/>
                <a:gd name="connsiteX25" fmla="*/ 3197 w 1185093"/>
                <a:gd name="connsiteY25" fmla="*/ 307164 h 2058983"/>
                <a:gd name="connsiteX26" fmla="*/ 24936 w 1185093"/>
                <a:gd name="connsiteY26" fmla="*/ 345529 h 2058983"/>
                <a:gd name="connsiteX27" fmla="*/ 47934 w 1185093"/>
                <a:gd name="connsiteY27" fmla="*/ 388006 h 2058983"/>
                <a:gd name="connsiteX28" fmla="*/ 53558 w 1185093"/>
                <a:gd name="connsiteY28" fmla="*/ 429728 h 2058983"/>
                <a:gd name="connsiteX29" fmla="*/ 33581 w 1185093"/>
                <a:gd name="connsiteY29" fmla="*/ 470023 h 2058983"/>
                <a:gd name="connsiteX30" fmla="*/ 25607 w 1185093"/>
                <a:gd name="connsiteY30" fmla="*/ 485469 h 2058983"/>
                <a:gd name="connsiteX31" fmla="*/ 26699 w 1185093"/>
                <a:gd name="connsiteY31" fmla="*/ 506708 h 2058983"/>
                <a:gd name="connsiteX32" fmla="*/ 24600 w 1185093"/>
                <a:gd name="connsiteY32" fmla="*/ 547255 h 2058983"/>
                <a:gd name="connsiteX33" fmla="*/ 21075 w 1185093"/>
                <a:gd name="connsiteY33" fmla="*/ 585871 h 2058983"/>
                <a:gd name="connsiteX34" fmla="*/ 67827 w 1185093"/>
                <a:gd name="connsiteY34" fmla="*/ 670406 h 2058983"/>
                <a:gd name="connsiteX35" fmla="*/ 92839 w 1185093"/>
                <a:gd name="connsiteY35" fmla="*/ 733451 h 2058983"/>
                <a:gd name="connsiteX36" fmla="*/ 70345 w 1185093"/>
                <a:gd name="connsiteY36" fmla="*/ 765351 h 2058983"/>
                <a:gd name="connsiteX37" fmla="*/ 84446 w 1185093"/>
                <a:gd name="connsiteY37" fmla="*/ 778614 h 2058983"/>
                <a:gd name="connsiteX38" fmla="*/ 95945 w 1185093"/>
                <a:gd name="connsiteY38" fmla="*/ 794397 h 2058983"/>
                <a:gd name="connsiteX39" fmla="*/ 131785 w 1185093"/>
                <a:gd name="connsiteY39" fmla="*/ 804806 h 2058983"/>
                <a:gd name="connsiteX40" fmla="*/ 137997 w 1185093"/>
                <a:gd name="connsiteY40" fmla="*/ 767366 h 2058983"/>
                <a:gd name="connsiteX41" fmla="*/ 199437 w 1185093"/>
                <a:gd name="connsiteY41" fmla="*/ 787345 h 2058983"/>
                <a:gd name="connsiteX42" fmla="*/ 233767 w 1185093"/>
                <a:gd name="connsiteY42" fmla="*/ 799266 h 2058983"/>
                <a:gd name="connsiteX43" fmla="*/ 254834 w 1185093"/>
                <a:gd name="connsiteY43" fmla="*/ 821512 h 2058983"/>
                <a:gd name="connsiteX44" fmla="*/ 211692 w 1185093"/>
                <a:gd name="connsiteY44" fmla="*/ 816391 h 2058983"/>
                <a:gd name="connsiteX45" fmla="*/ 192135 w 1185093"/>
                <a:gd name="connsiteY45" fmla="*/ 807996 h 2058983"/>
                <a:gd name="connsiteX46" fmla="*/ 174089 w 1185093"/>
                <a:gd name="connsiteY46" fmla="*/ 797755 h 2058983"/>
                <a:gd name="connsiteX47" fmla="*/ 159988 w 1185093"/>
                <a:gd name="connsiteY47" fmla="*/ 835615 h 2058983"/>
                <a:gd name="connsiteX48" fmla="*/ 173249 w 1185093"/>
                <a:gd name="connsiteY48" fmla="*/ 874818 h 2058983"/>
                <a:gd name="connsiteX49" fmla="*/ 165527 w 1185093"/>
                <a:gd name="connsiteY49" fmla="*/ 902773 h 2058983"/>
                <a:gd name="connsiteX50" fmla="*/ 139004 w 1185093"/>
                <a:gd name="connsiteY50" fmla="*/ 869362 h 2058983"/>
                <a:gd name="connsiteX51" fmla="*/ 112396 w 1185093"/>
                <a:gd name="connsiteY51" fmla="*/ 855091 h 2058983"/>
                <a:gd name="connsiteX52" fmla="*/ 112648 w 1185093"/>
                <a:gd name="connsiteY52" fmla="*/ 896897 h 2058983"/>
                <a:gd name="connsiteX53" fmla="*/ 112648 w 1185093"/>
                <a:gd name="connsiteY53" fmla="*/ 932155 h 2058983"/>
                <a:gd name="connsiteX54" fmla="*/ 170480 w 1185093"/>
                <a:gd name="connsiteY54" fmla="*/ 1020300 h 2058983"/>
                <a:gd name="connsiteX55" fmla="*/ 141522 w 1185093"/>
                <a:gd name="connsiteY55" fmla="*/ 1064792 h 2058983"/>
                <a:gd name="connsiteX56" fmla="*/ 152014 w 1185093"/>
                <a:gd name="connsiteY56" fmla="*/ 1190378 h 2058983"/>
                <a:gd name="connsiteX57" fmla="*/ 185756 w 1185093"/>
                <a:gd name="connsiteY57" fmla="*/ 1236381 h 2058983"/>
                <a:gd name="connsiteX58" fmla="*/ 216644 w 1185093"/>
                <a:gd name="connsiteY58" fmla="*/ 1290947 h 2058983"/>
                <a:gd name="connsiteX59" fmla="*/ 258695 w 1185093"/>
                <a:gd name="connsiteY59" fmla="*/ 1410405 h 2058983"/>
                <a:gd name="connsiteX60" fmla="*/ 244510 w 1185093"/>
                <a:gd name="connsiteY60" fmla="*/ 1475716 h 2058983"/>
                <a:gd name="connsiteX61" fmla="*/ 263396 w 1185093"/>
                <a:gd name="connsiteY61" fmla="*/ 1521467 h 2058983"/>
                <a:gd name="connsiteX62" fmla="*/ 418592 w 1185093"/>
                <a:gd name="connsiteY62" fmla="*/ 1603316 h 2058983"/>
                <a:gd name="connsiteX63" fmla="*/ 449564 w 1185093"/>
                <a:gd name="connsiteY63" fmla="*/ 1652593 h 2058983"/>
                <a:gd name="connsiteX64" fmla="*/ 509997 w 1185093"/>
                <a:gd name="connsiteY64" fmla="*/ 1672909 h 2058983"/>
                <a:gd name="connsiteX65" fmla="*/ 544075 w 1185093"/>
                <a:gd name="connsiteY65" fmla="*/ 1721682 h 2058983"/>
                <a:gd name="connsiteX66" fmla="*/ 585455 w 1185093"/>
                <a:gd name="connsiteY66" fmla="*/ 1760886 h 2058983"/>
                <a:gd name="connsiteX67" fmla="*/ 613238 w 1185093"/>
                <a:gd name="connsiteY67" fmla="*/ 1820741 h 2058983"/>
                <a:gd name="connsiteX68" fmla="*/ 651009 w 1185093"/>
                <a:gd name="connsiteY68" fmla="*/ 1891173 h 2058983"/>
                <a:gd name="connsiteX69" fmla="*/ 664103 w 1185093"/>
                <a:gd name="connsiteY69" fmla="*/ 1952538 h 2058983"/>
                <a:gd name="connsiteX70" fmla="*/ 695746 w 1185093"/>
                <a:gd name="connsiteY70" fmla="*/ 2002403 h 2058983"/>
                <a:gd name="connsiteX71" fmla="*/ 856818 w 1185093"/>
                <a:gd name="connsiteY71" fmla="*/ 2025069 h 2058983"/>
                <a:gd name="connsiteX72" fmla="*/ 997913 w 1185093"/>
                <a:gd name="connsiteY72" fmla="*/ 2048155 h 2058983"/>
                <a:gd name="connsiteX73" fmla="*/ 1012518 w 1185093"/>
                <a:gd name="connsiteY73" fmla="*/ 2058984 h 2058983"/>
                <a:gd name="connsiteX74" fmla="*/ 1080253 w 1185093"/>
                <a:gd name="connsiteY74" fmla="*/ 2036906 h 2058983"/>
                <a:gd name="connsiteX75" fmla="*/ 1095865 w 1185093"/>
                <a:gd name="connsiteY75" fmla="*/ 2015331 h 2058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185093" h="2058983">
                  <a:moveTo>
                    <a:pt x="1095697" y="2015499"/>
                  </a:moveTo>
                  <a:cubicBezTo>
                    <a:pt x="1095110" y="2006601"/>
                    <a:pt x="1091920" y="2005258"/>
                    <a:pt x="1085457" y="2002487"/>
                  </a:cubicBezTo>
                  <a:cubicBezTo>
                    <a:pt x="1081596" y="2000808"/>
                    <a:pt x="1077148" y="1998877"/>
                    <a:pt x="1072867" y="1994848"/>
                  </a:cubicBezTo>
                  <a:cubicBezTo>
                    <a:pt x="1065061" y="1987545"/>
                    <a:pt x="1060864" y="1979234"/>
                    <a:pt x="1060612" y="1970252"/>
                  </a:cubicBezTo>
                  <a:cubicBezTo>
                    <a:pt x="1059941" y="1950692"/>
                    <a:pt x="1077064" y="1932559"/>
                    <a:pt x="1089570" y="1919295"/>
                  </a:cubicBezTo>
                  <a:lnTo>
                    <a:pt x="1095194" y="1913335"/>
                  </a:lnTo>
                  <a:cubicBezTo>
                    <a:pt x="1102916" y="1905360"/>
                    <a:pt x="1110134" y="1897805"/>
                    <a:pt x="1112652" y="1886975"/>
                  </a:cubicBezTo>
                  <a:cubicBezTo>
                    <a:pt x="1113911" y="1881519"/>
                    <a:pt x="1113911" y="1875558"/>
                    <a:pt x="1113827" y="1869262"/>
                  </a:cubicBezTo>
                  <a:cubicBezTo>
                    <a:pt x="1113827" y="1863218"/>
                    <a:pt x="1113827" y="1856922"/>
                    <a:pt x="1115003" y="1850794"/>
                  </a:cubicBezTo>
                  <a:cubicBezTo>
                    <a:pt x="1119871" y="1825442"/>
                    <a:pt x="1134475" y="1817131"/>
                    <a:pt x="1149919" y="1808232"/>
                  </a:cubicBezTo>
                  <a:cubicBezTo>
                    <a:pt x="1157893" y="1803699"/>
                    <a:pt x="1166119" y="1798914"/>
                    <a:pt x="1174009" y="1791443"/>
                  </a:cubicBezTo>
                  <a:cubicBezTo>
                    <a:pt x="1185844" y="1780194"/>
                    <a:pt x="1188026" y="1770792"/>
                    <a:pt x="1181395" y="1760130"/>
                  </a:cubicBezTo>
                  <a:cubicBezTo>
                    <a:pt x="1174680" y="1749385"/>
                    <a:pt x="1169896" y="1739227"/>
                    <a:pt x="1164860" y="1728482"/>
                  </a:cubicBezTo>
                  <a:lnTo>
                    <a:pt x="1160076" y="1718325"/>
                  </a:lnTo>
                  <a:cubicBezTo>
                    <a:pt x="1148409" y="1693896"/>
                    <a:pt x="1137413" y="1670894"/>
                    <a:pt x="1137749" y="1641177"/>
                  </a:cubicBezTo>
                  <a:cubicBezTo>
                    <a:pt x="1137749" y="1636308"/>
                    <a:pt x="1138588" y="1631942"/>
                    <a:pt x="1139763" y="1627829"/>
                  </a:cubicBezTo>
                  <a:lnTo>
                    <a:pt x="537780" y="700543"/>
                  </a:lnTo>
                  <a:lnTo>
                    <a:pt x="673671" y="170414"/>
                  </a:lnTo>
                  <a:cubicBezTo>
                    <a:pt x="356480" y="87054"/>
                    <a:pt x="148237" y="16034"/>
                    <a:pt x="102240" y="0"/>
                  </a:cubicBezTo>
                  <a:cubicBezTo>
                    <a:pt x="98631" y="21407"/>
                    <a:pt x="90405" y="40379"/>
                    <a:pt x="91329" y="63213"/>
                  </a:cubicBezTo>
                  <a:cubicBezTo>
                    <a:pt x="92672" y="94357"/>
                    <a:pt x="96281" y="121388"/>
                    <a:pt x="84026" y="150014"/>
                  </a:cubicBezTo>
                  <a:cubicBezTo>
                    <a:pt x="72191" y="177633"/>
                    <a:pt x="56160" y="201642"/>
                    <a:pt x="35428" y="223385"/>
                  </a:cubicBezTo>
                  <a:cubicBezTo>
                    <a:pt x="29301" y="229849"/>
                    <a:pt x="24600" y="236313"/>
                    <a:pt x="18641" y="242357"/>
                  </a:cubicBezTo>
                  <a:cubicBezTo>
                    <a:pt x="14528" y="246470"/>
                    <a:pt x="5127" y="249157"/>
                    <a:pt x="2106" y="253774"/>
                  </a:cubicBezTo>
                  <a:cubicBezTo>
                    <a:pt x="-2091" y="260322"/>
                    <a:pt x="1182" y="269388"/>
                    <a:pt x="1770" y="276188"/>
                  </a:cubicBezTo>
                  <a:cubicBezTo>
                    <a:pt x="2693" y="286178"/>
                    <a:pt x="2022" y="297007"/>
                    <a:pt x="3197" y="307164"/>
                  </a:cubicBezTo>
                  <a:cubicBezTo>
                    <a:pt x="4959" y="323198"/>
                    <a:pt x="15955" y="332433"/>
                    <a:pt x="24936" y="345529"/>
                  </a:cubicBezTo>
                  <a:cubicBezTo>
                    <a:pt x="33749" y="358456"/>
                    <a:pt x="41555" y="373483"/>
                    <a:pt x="47934" y="388006"/>
                  </a:cubicBezTo>
                  <a:cubicBezTo>
                    <a:pt x="54229" y="402109"/>
                    <a:pt x="53558" y="414114"/>
                    <a:pt x="53558" y="429728"/>
                  </a:cubicBezTo>
                  <a:cubicBezTo>
                    <a:pt x="53558" y="452142"/>
                    <a:pt x="49109" y="455332"/>
                    <a:pt x="33581" y="470023"/>
                  </a:cubicBezTo>
                  <a:cubicBezTo>
                    <a:pt x="26111" y="477075"/>
                    <a:pt x="26699" y="474640"/>
                    <a:pt x="25607" y="485469"/>
                  </a:cubicBezTo>
                  <a:cubicBezTo>
                    <a:pt x="24852" y="492689"/>
                    <a:pt x="26363" y="499740"/>
                    <a:pt x="26699" y="506708"/>
                  </a:cubicBezTo>
                  <a:cubicBezTo>
                    <a:pt x="27370" y="520391"/>
                    <a:pt x="27790" y="534495"/>
                    <a:pt x="24600" y="547255"/>
                  </a:cubicBezTo>
                  <a:cubicBezTo>
                    <a:pt x="20991" y="561442"/>
                    <a:pt x="16542" y="571096"/>
                    <a:pt x="21075" y="585871"/>
                  </a:cubicBezTo>
                  <a:cubicBezTo>
                    <a:pt x="30476" y="616260"/>
                    <a:pt x="50704" y="643711"/>
                    <a:pt x="67827" y="670406"/>
                  </a:cubicBezTo>
                  <a:cubicBezTo>
                    <a:pt x="77479" y="685433"/>
                    <a:pt x="99303" y="714143"/>
                    <a:pt x="92839" y="733451"/>
                  </a:cubicBezTo>
                  <a:cubicBezTo>
                    <a:pt x="88391" y="746630"/>
                    <a:pt x="65393" y="747386"/>
                    <a:pt x="70345" y="765351"/>
                  </a:cubicBezTo>
                  <a:cubicBezTo>
                    <a:pt x="72527" y="773410"/>
                    <a:pt x="78487" y="773494"/>
                    <a:pt x="84446" y="778614"/>
                  </a:cubicBezTo>
                  <a:cubicBezTo>
                    <a:pt x="89650" y="783148"/>
                    <a:pt x="92000" y="788856"/>
                    <a:pt x="95945" y="794397"/>
                  </a:cubicBezTo>
                  <a:cubicBezTo>
                    <a:pt x="102240" y="803295"/>
                    <a:pt x="121377" y="819833"/>
                    <a:pt x="131785" y="804806"/>
                  </a:cubicBezTo>
                  <a:cubicBezTo>
                    <a:pt x="139088" y="794145"/>
                    <a:pt x="126414" y="778111"/>
                    <a:pt x="137997" y="767366"/>
                  </a:cubicBezTo>
                  <a:cubicBezTo>
                    <a:pt x="157470" y="749401"/>
                    <a:pt x="183490" y="776684"/>
                    <a:pt x="199437" y="787345"/>
                  </a:cubicBezTo>
                  <a:cubicBezTo>
                    <a:pt x="209845" y="794313"/>
                    <a:pt x="222100" y="796243"/>
                    <a:pt x="233767" y="799266"/>
                  </a:cubicBezTo>
                  <a:cubicBezTo>
                    <a:pt x="249295" y="803211"/>
                    <a:pt x="267760" y="808080"/>
                    <a:pt x="254834" y="821512"/>
                  </a:cubicBezTo>
                  <a:cubicBezTo>
                    <a:pt x="245518" y="831166"/>
                    <a:pt x="224282" y="820420"/>
                    <a:pt x="211692" y="816391"/>
                  </a:cubicBezTo>
                  <a:cubicBezTo>
                    <a:pt x="204725" y="814124"/>
                    <a:pt x="198682" y="810766"/>
                    <a:pt x="192135" y="807996"/>
                  </a:cubicBezTo>
                  <a:cubicBezTo>
                    <a:pt x="187434" y="806065"/>
                    <a:pt x="177110" y="798006"/>
                    <a:pt x="174089" y="797755"/>
                  </a:cubicBezTo>
                  <a:cubicBezTo>
                    <a:pt x="155455" y="796243"/>
                    <a:pt x="159820" y="823275"/>
                    <a:pt x="159988" y="835615"/>
                  </a:cubicBezTo>
                  <a:cubicBezTo>
                    <a:pt x="160156" y="852321"/>
                    <a:pt x="166535" y="860044"/>
                    <a:pt x="173249" y="874818"/>
                  </a:cubicBezTo>
                  <a:cubicBezTo>
                    <a:pt x="178286" y="885816"/>
                    <a:pt x="185000" y="905627"/>
                    <a:pt x="165527" y="902773"/>
                  </a:cubicBezTo>
                  <a:cubicBezTo>
                    <a:pt x="150671" y="900590"/>
                    <a:pt x="144460" y="881702"/>
                    <a:pt x="139004" y="869362"/>
                  </a:cubicBezTo>
                  <a:cubicBezTo>
                    <a:pt x="134220" y="858700"/>
                    <a:pt x="125574" y="838973"/>
                    <a:pt x="112396" y="855091"/>
                  </a:cubicBezTo>
                  <a:cubicBezTo>
                    <a:pt x="105094" y="863989"/>
                    <a:pt x="109627" y="887327"/>
                    <a:pt x="112648" y="896897"/>
                  </a:cubicBezTo>
                  <a:cubicBezTo>
                    <a:pt x="117516" y="912259"/>
                    <a:pt x="116090" y="916457"/>
                    <a:pt x="112648" y="932155"/>
                  </a:cubicBezTo>
                  <a:cubicBezTo>
                    <a:pt x="103164" y="975724"/>
                    <a:pt x="169221" y="980677"/>
                    <a:pt x="170480" y="1020300"/>
                  </a:cubicBezTo>
                  <a:cubicBezTo>
                    <a:pt x="171151" y="1043721"/>
                    <a:pt x="151091" y="1047667"/>
                    <a:pt x="141522" y="1064792"/>
                  </a:cubicBezTo>
                  <a:cubicBezTo>
                    <a:pt x="120958" y="1101393"/>
                    <a:pt x="136486" y="1153357"/>
                    <a:pt x="152014" y="1190378"/>
                  </a:cubicBezTo>
                  <a:cubicBezTo>
                    <a:pt x="161415" y="1212876"/>
                    <a:pt x="168465" y="1218752"/>
                    <a:pt x="185756" y="1236381"/>
                  </a:cubicBezTo>
                  <a:cubicBezTo>
                    <a:pt x="201032" y="1251995"/>
                    <a:pt x="206824" y="1272143"/>
                    <a:pt x="216644" y="1290947"/>
                  </a:cubicBezTo>
                  <a:cubicBezTo>
                    <a:pt x="236788" y="1329647"/>
                    <a:pt x="256513" y="1367171"/>
                    <a:pt x="258695" y="1410405"/>
                  </a:cubicBezTo>
                  <a:cubicBezTo>
                    <a:pt x="260038" y="1438275"/>
                    <a:pt x="253240" y="1450951"/>
                    <a:pt x="244510" y="1475716"/>
                  </a:cubicBezTo>
                  <a:cubicBezTo>
                    <a:pt x="236537" y="1498382"/>
                    <a:pt x="242664" y="1509463"/>
                    <a:pt x="263396" y="1521467"/>
                  </a:cubicBezTo>
                  <a:cubicBezTo>
                    <a:pt x="314345" y="1550849"/>
                    <a:pt x="384346" y="1549338"/>
                    <a:pt x="418592" y="1603316"/>
                  </a:cubicBezTo>
                  <a:cubicBezTo>
                    <a:pt x="430679" y="1622456"/>
                    <a:pt x="428748" y="1639246"/>
                    <a:pt x="449564" y="1652593"/>
                  </a:cubicBezTo>
                  <a:cubicBezTo>
                    <a:pt x="469205" y="1665102"/>
                    <a:pt x="489349" y="1664262"/>
                    <a:pt x="509997" y="1672909"/>
                  </a:cubicBezTo>
                  <a:cubicBezTo>
                    <a:pt x="530478" y="1681555"/>
                    <a:pt x="538871" y="1700695"/>
                    <a:pt x="544075" y="1721682"/>
                  </a:cubicBezTo>
                  <a:cubicBezTo>
                    <a:pt x="551881" y="1753331"/>
                    <a:pt x="563212" y="1741914"/>
                    <a:pt x="585455" y="1760886"/>
                  </a:cubicBezTo>
                  <a:cubicBezTo>
                    <a:pt x="604089" y="1776836"/>
                    <a:pt x="610636" y="1797991"/>
                    <a:pt x="613238" y="1820741"/>
                  </a:cubicBezTo>
                  <a:cubicBezTo>
                    <a:pt x="616847" y="1851885"/>
                    <a:pt x="634725" y="1865065"/>
                    <a:pt x="651009" y="1891173"/>
                  </a:cubicBezTo>
                  <a:cubicBezTo>
                    <a:pt x="663095" y="1910397"/>
                    <a:pt x="668467" y="1929789"/>
                    <a:pt x="664103" y="1952538"/>
                  </a:cubicBezTo>
                  <a:cubicBezTo>
                    <a:pt x="655961" y="1994764"/>
                    <a:pt x="653107" y="1993925"/>
                    <a:pt x="695746" y="2002403"/>
                  </a:cubicBezTo>
                  <a:cubicBezTo>
                    <a:pt x="748709" y="2012981"/>
                    <a:pt x="802428" y="2017346"/>
                    <a:pt x="856818" y="2025069"/>
                  </a:cubicBezTo>
                  <a:cubicBezTo>
                    <a:pt x="902730" y="2031533"/>
                    <a:pt x="958044" y="2025489"/>
                    <a:pt x="997913" y="2048155"/>
                  </a:cubicBezTo>
                  <a:cubicBezTo>
                    <a:pt x="1003788" y="2051513"/>
                    <a:pt x="1008489" y="2055122"/>
                    <a:pt x="1012518" y="2058984"/>
                  </a:cubicBezTo>
                  <a:cubicBezTo>
                    <a:pt x="1033082" y="2054955"/>
                    <a:pt x="1062627" y="2046392"/>
                    <a:pt x="1080253" y="2036906"/>
                  </a:cubicBezTo>
                  <a:cubicBezTo>
                    <a:pt x="1090745" y="2031197"/>
                    <a:pt x="1096621" y="2025909"/>
                    <a:pt x="1095865" y="201533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3E523476-A192-DA73-92B8-13AC2EE2AD40}"/>
                </a:ext>
              </a:extLst>
            </p:cNvPr>
            <p:cNvSpPr/>
            <p:nvPr/>
          </p:nvSpPr>
          <p:spPr>
            <a:xfrm>
              <a:off x="6114531" y="2050754"/>
              <a:ext cx="1355136" cy="850458"/>
            </a:xfrm>
            <a:custGeom>
              <a:avLst/>
              <a:gdLst>
                <a:gd name="connsiteX0" fmla="*/ 624 w 1500293"/>
                <a:gd name="connsiteY0" fmla="*/ 127936 h 941556"/>
                <a:gd name="connsiteX1" fmla="*/ 16403 w 1500293"/>
                <a:gd name="connsiteY1" fmla="*/ 204496 h 941556"/>
                <a:gd name="connsiteX2" fmla="*/ 23622 w 1500293"/>
                <a:gd name="connsiteY2" fmla="*/ 249492 h 941556"/>
                <a:gd name="connsiteX3" fmla="*/ 25804 w 1500293"/>
                <a:gd name="connsiteY3" fmla="*/ 277867 h 941556"/>
                <a:gd name="connsiteX4" fmla="*/ 50649 w 1500293"/>
                <a:gd name="connsiteY4" fmla="*/ 322191 h 941556"/>
                <a:gd name="connsiteX5" fmla="*/ 69450 w 1500293"/>
                <a:gd name="connsiteY5" fmla="*/ 346452 h 941556"/>
                <a:gd name="connsiteX6" fmla="*/ 93372 w 1500293"/>
                <a:gd name="connsiteY6" fmla="*/ 392539 h 941556"/>
                <a:gd name="connsiteX7" fmla="*/ 106382 w 1500293"/>
                <a:gd name="connsiteY7" fmla="*/ 419319 h 941556"/>
                <a:gd name="connsiteX8" fmla="*/ 132989 w 1500293"/>
                <a:gd name="connsiteY8" fmla="*/ 448700 h 941556"/>
                <a:gd name="connsiteX9" fmla="*/ 143313 w 1500293"/>
                <a:gd name="connsiteY9" fmla="*/ 452058 h 941556"/>
                <a:gd name="connsiteX10" fmla="*/ 164885 w 1500293"/>
                <a:gd name="connsiteY10" fmla="*/ 468092 h 941556"/>
                <a:gd name="connsiteX11" fmla="*/ 143229 w 1500293"/>
                <a:gd name="connsiteY11" fmla="*/ 536677 h 941556"/>
                <a:gd name="connsiteX12" fmla="*/ 136515 w 1500293"/>
                <a:gd name="connsiteY12" fmla="*/ 549353 h 941556"/>
                <a:gd name="connsiteX13" fmla="*/ 120819 w 1500293"/>
                <a:gd name="connsiteY13" fmla="*/ 575125 h 941556"/>
                <a:gd name="connsiteX14" fmla="*/ 103696 w 1500293"/>
                <a:gd name="connsiteY14" fmla="*/ 604759 h 941556"/>
                <a:gd name="connsiteX15" fmla="*/ 108480 w 1500293"/>
                <a:gd name="connsiteY15" fmla="*/ 672085 h 941556"/>
                <a:gd name="connsiteX16" fmla="*/ 137018 w 1500293"/>
                <a:gd name="connsiteY16" fmla="*/ 660332 h 941556"/>
                <a:gd name="connsiteX17" fmla="*/ 164213 w 1500293"/>
                <a:gd name="connsiteY17" fmla="*/ 641864 h 941556"/>
                <a:gd name="connsiteX18" fmla="*/ 179993 w 1500293"/>
                <a:gd name="connsiteY18" fmla="*/ 647572 h 941556"/>
                <a:gd name="connsiteX19" fmla="*/ 185869 w 1500293"/>
                <a:gd name="connsiteY19" fmla="*/ 687447 h 941556"/>
                <a:gd name="connsiteX20" fmla="*/ 185281 w 1500293"/>
                <a:gd name="connsiteY20" fmla="*/ 706755 h 941556"/>
                <a:gd name="connsiteX21" fmla="*/ 201732 w 1500293"/>
                <a:gd name="connsiteY21" fmla="*/ 743860 h 941556"/>
                <a:gd name="connsiteX22" fmla="*/ 218352 w 1500293"/>
                <a:gd name="connsiteY22" fmla="*/ 778447 h 941556"/>
                <a:gd name="connsiteX23" fmla="*/ 215330 w 1500293"/>
                <a:gd name="connsiteY23" fmla="*/ 798258 h 941556"/>
                <a:gd name="connsiteX24" fmla="*/ 213231 w 1500293"/>
                <a:gd name="connsiteY24" fmla="*/ 813956 h 941556"/>
                <a:gd name="connsiteX25" fmla="*/ 224395 w 1500293"/>
                <a:gd name="connsiteY25" fmla="*/ 822435 h 941556"/>
                <a:gd name="connsiteX26" fmla="*/ 246638 w 1500293"/>
                <a:gd name="connsiteY26" fmla="*/ 842331 h 941556"/>
                <a:gd name="connsiteX27" fmla="*/ 254695 w 1500293"/>
                <a:gd name="connsiteY27" fmla="*/ 868103 h 941556"/>
                <a:gd name="connsiteX28" fmla="*/ 286927 w 1500293"/>
                <a:gd name="connsiteY28" fmla="*/ 902437 h 941556"/>
                <a:gd name="connsiteX29" fmla="*/ 299769 w 1500293"/>
                <a:gd name="connsiteY29" fmla="*/ 897233 h 941556"/>
                <a:gd name="connsiteX30" fmla="*/ 317731 w 1500293"/>
                <a:gd name="connsiteY30" fmla="*/ 890433 h 941556"/>
                <a:gd name="connsiteX31" fmla="*/ 348115 w 1500293"/>
                <a:gd name="connsiteY31" fmla="*/ 894210 h 941556"/>
                <a:gd name="connsiteX32" fmla="*/ 356005 w 1500293"/>
                <a:gd name="connsiteY32" fmla="*/ 896057 h 941556"/>
                <a:gd name="connsiteX33" fmla="*/ 466044 w 1500293"/>
                <a:gd name="connsiteY33" fmla="*/ 904032 h 941556"/>
                <a:gd name="connsiteX34" fmla="*/ 483923 w 1500293"/>
                <a:gd name="connsiteY34" fmla="*/ 889425 h 941556"/>
                <a:gd name="connsiteX35" fmla="*/ 484006 w 1500293"/>
                <a:gd name="connsiteY35" fmla="*/ 889425 h 941556"/>
                <a:gd name="connsiteX36" fmla="*/ 506249 w 1500293"/>
                <a:gd name="connsiteY36" fmla="*/ 903780 h 941556"/>
                <a:gd name="connsiteX37" fmla="*/ 519175 w 1500293"/>
                <a:gd name="connsiteY37" fmla="*/ 822267 h 941556"/>
                <a:gd name="connsiteX38" fmla="*/ 1442043 w 1500293"/>
                <a:gd name="connsiteY38" fmla="*/ 941557 h 941556"/>
                <a:gd name="connsiteX39" fmla="*/ 1500294 w 1500293"/>
                <a:gd name="connsiteY39" fmla="*/ 197193 h 941556"/>
                <a:gd name="connsiteX40" fmla="*/ 27986 w 1500293"/>
                <a:gd name="connsiteY40" fmla="*/ 0 h 941556"/>
                <a:gd name="connsiteX41" fmla="*/ 14137 w 1500293"/>
                <a:gd name="connsiteY41" fmla="*/ 70432 h 941556"/>
                <a:gd name="connsiteX42" fmla="*/ 791 w 1500293"/>
                <a:gd name="connsiteY42" fmla="*/ 128104 h 941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00293" h="941556">
                  <a:moveTo>
                    <a:pt x="624" y="127936"/>
                  </a:moveTo>
                  <a:cubicBezTo>
                    <a:pt x="-2314" y="158073"/>
                    <a:pt x="5492" y="177549"/>
                    <a:pt x="16403" y="204496"/>
                  </a:cubicBezTo>
                  <a:cubicBezTo>
                    <a:pt x="22615" y="219943"/>
                    <a:pt x="23118" y="234298"/>
                    <a:pt x="23622" y="249492"/>
                  </a:cubicBezTo>
                  <a:cubicBezTo>
                    <a:pt x="23958" y="258559"/>
                    <a:pt x="24209" y="267961"/>
                    <a:pt x="25804" y="277867"/>
                  </a:cubicBezTo>
                  <a:cubicBezTo>
                    <a:pt x="28910" y="297175"/>
                    <a:pt x="38982" y="308759"/>
                    <a:pt x="50649" y="322191"/>
                  </a:cubicBezTo>
                  <a:cubicBezTo>
                    <a:pt x="57028" y="329495"/>
                    <a:pt x="63659" y="337134"/>
                    <a:pt x="69450" y="346452"/>
                  </a:cubicBezTo>
                  <a:cubicBezTo>
                    <a:pt x="78348" y="360723"/>
                    <a:pt x="85986" y="376925"/>
                    <a:pt x="93372" y="392539"/>
                  </a:cubicBezTo>
                  <a:cubicBezTo>
                    <a:pt x="97569" y="401522"/>
                    <a:pt x="101933" y="410756"/>
                    <a:pt x="106382" y="419319"/>
                  </a:cubicBezTo>
                  <a:cubicBezTo>
                    <a:pt x="114356" y="434681"/>
                    <a:pt x="119392" y="440138"/>
                    <a:pt x="132989" y="448700"/>
                  </a:cubicBezTo>
                  <a:cubicBezTo>
                    <a:pt x="135927" y="450547"/>
                    <a:pt x="139536" y="451303"/>
                    <a:pt x="143313" y="452058"/>
                  </a:cubicBezTo>
                  <a:cubicBezTo>
                    <a:pt x="150951" y="453653"/>
                    <a:pt x="160520" y="455668"/>
                    <a:pt x="164885" y="468092"/>
                  </a:cubicBezTo>
                  <a:cubicBezTo>
                    <a:pt x="171012" y="485721"/>
                    <a:pt x="154896" y="515187"/>
                    <a:pt x="143229" y="536677"/>
                  </a:cubicBezTo>
                  <a:cubicBezTo>
                    <a:pt x="140627" y="541546"/>
                    <a:pt x="138193" y="545828"/>
                    <a:pt x="136515" y="549353"/>
                  </a:cubicBezTo>
                  <a:cubicBezTo>
                    <a:pt x="131982" y="558588"/>
                    <a:pt x="126358" y="566982"/>
                    <a:pt x="120819" y="575125"/>
                  </a:cubicBezTo>
                  <a:cubicBezTo>
                    <a:pt x="114104" y="584947"/>
                    <a:pt x="107809" y="594265"/>
                    <a:pt x="103696" y="604759"/>
                  </a:cubicBezTo>
                  <a:cubicBezTo>
                    <a:pt x="98324" y="618274"/>
                    <a:pt x="97653" y="664865"/>
                    <a:pt x="108480" y="672085"/>
                  </a:cubicBezTo>
                  <a:cubicBezTo>
                    <a:pt x="119560" y="679472"/>
                    <a:pt x="126191" y="672756"/>
                    <a:pt x="137018" y="660332"/>
                  </a:cubicBezTo>
                  <a:cubicBezTo>
                    <a:pt x="144740" y="651350"/>
                    <a:pt x="152798" y="642116"/>
                    <a:pt x="164213" y="641864"/>
                  </a:cubicBezTo>
                  <a:cubicBezTo>
                    <a:pt x="170928" y="641864"/>
                    <a:pt x="176216" y="643627"/>
                    <a:pt x="179993" y="647572"/>
                  </a:cubicBezTo>
                  <a:cubicBezTo>
                    <a:pt x="188219" y="656135"/>
                    <a:pt x="186960" y="672085"/>
                    <a:pt x="185869" y="687447"/>
                  </a:cubicBezTo>
                  <a:cubicBezTo>
                    <a:pt x="185365" y="694583"/>
                    <a:pt x="184861" y="701383"/>
                    <a:pt x="185281" y="706755"/>
                  </a:cubicBezTo>
                  <a:cubicBezTo>
                    <a:pt x="186708" y="722034"/>
                    <a:pt x="194010" y="732611"/>
                    <a:pt x="201732" y="743860"/>
                  </a:cubicBezTo>
                  <a:cubicBezTo>
                    <a:pt x="208699" y="754018"/>
                    <a:pt x="215917" y="764427"/>
                    <a:pt x="218352" y="778447"/>
                  </a:cubicBezTo>
                  <a:cubicBezTo>
                    <a:pt x="219527" y="784827"/>
                    <a:pt x="217344" y="791710"/>
                    <a:pt x="215330" y="798258"/>
                  </a:cubicBezTo>
                  <a:cubicBezTo>
                    <a:pt x="213483" y="804219"/>
                    <a:pt x="211469" y="810431"/>
                    <a:pt x="213231" y="813956"/>
                  </a:cubicBezTo>
                  <a:cubicBezTo>
                    <a:pt x="214323" y="816223"/>
                    <a:pt x="219694" y="819497"/>
                    <a:pt x="224395" y="822435"/>
                  </a:cubicBezTo>
                  <a:cubicBezTo>
                    <a:pt x="232788" y="827640"/>
                    <a:pt x="242357" y="833516"/>
                    <a:pt x="246638" y="842331"/>
                  </a:cubicBezTo>
                  <a:cubicBezTo>
                    <a:pt x="250499" y="850222"/>
                    <a:pt x="252681" y="859372"/>
                    <a:pt x="254695" y="868103"/>
                  </a:cubicBezTo>
                  <a:cubicBezTo>
                    <a:pt x="260151" y="891272"/>
                    <a:pt x="264684" y="905291"/>
                    <a:pt x="286927" y="902437"/>
                  </a:cubicBezTo>
                  <a:cubicBezTo>
                    <a:pt x="291207" y="901850"/>
                    <a:pt x="295404" y="899583"/>
                    <a:pt x="299769" y="897233"/>
                  </a:cubicBezTo>
                  <a:cubicBezTo>
                    <a:pt x="304889" y="894462"/>
                    <a:pt x="310764" y="891272"/>
                    <a:pt x="317731" y="890433"/>
                  </a:cubicBezTo>
                  <a:cubicBezTo>
                    <a:pt x="328055" y="889258"/>
                    <a:pt x="338715" y="891860"/>
                    <a:pt x="348115" y="894210"/>
                  </a:cubicBezTo>
                  <a:cubicBezTo>
                    <a:pt x="350885" y="894882"/>
                    <a:pt x="353571" y="895554"/>
                    <a:pt x="356005" y="896057"/>
                  </a:cubicBezTo>
                  <a:cubicBezTo>
                    <a:pt x="388152" y="902605"/>
                    <a:pt x="428106" y="905543"/>
                    <a:pt x="466044" y="904032"/>
                  </a:cubicBezTo>
                  <a:cubicBezTo>
                    <a:pt x="470913" y="891440"/>
                    <a:pt x="479222" y="889425"/>
                    <a:pt x="483923" y="889425"/>
                  </a:cubicBezTo>
                  <a:lnTo>
                    <a:pt x="484006" y="889425"/>
                  </a:lnTo>
                  <a:cubicBezTo>
                    <a:pt x="492064" y="889425"/>
                    <a:pt x="500290" y="895050"/>
                    <a:pt x="506249" y="903780"/>
                  </a:cubicBezTo>
                  <a:lnTo>
                    <a:pt x="519175" y="822267"/>
                  </a:lnTo>
                  <a:cubicBezTo>
                    <a:pt x="877662" y="901346"/>
                    <a:pt x="1391010" y="938115"/>
                    <a:pt x="1442043" y="941557"/>
                  </a:cubicBezTo>
                  <a:lnTo>
                    <a:pt x="1500294" y="197193"/>
                  </a:lnTo>
                  <a:cubicBezTo>
                    <a:pt x="1027655" y="157066"/>
                    <a:pt x="488119" y="91503"/>
                    <a:pt x="27986" y="0"/>
                  </a:cubicBezTo>
                  <a:cubicBezTo>
                    <a:pt x="27483" y="27535"/>
                    <a:pt x="20768" y="49361"/>
                    <a:pt x="14137" y="70432"/>
                  </a:cubicBezTo>
                  <a:cubicBezTo>
                    <a:pt x="8681" y="88061"/>
                    <a:pt x="2974" y="106278"/>
                    <a:pt x="791" y="12810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45623042-C922-A590-56C8-3D715E3578A3}"/>
                </a:ext>
              </a:extLst>
            </p:cNvPr>
            <p:cNvSpPr/>
            <p:nvPr/>
          </p:nvSpPr>
          <p:spPr>
            <a:xfrm>
              <a:off x="8665789" y="4984746"/>
              <a:ext cx="744614" cy="655456"/>
            </a:xfrm>
            <a:custGeom>
              <a:avLst/>
              <a:gdLst>
                <a:gd name="connsiteX0" fmla="*/ 680295 w 824374"/>
                <a:gd name="connsiteY0" fmla="*/ 439969 h 725666"/>
                <a:gd name="connsiteX1" fmla="*/ 679959 w 824374"/>
                <a:gd name="connsiteY1" fmla="*/ 438878 h 725666"/>
                <a:gd name="connsiteX2" fmla="*/ 680714 w 824374"/>
                <a:gd name="connsiteY2" fmla="*/ 396401 h 725666"/>
                <a:gd name="connsiteX3" fmla="*/ 690032 w 824374"/>
                <a:gd name="connsiteY3" fmla="*/ 362234 h 725666"/>
                <a:gd name="connsiteX4" fmla="*/ 393404 w 824374"/>
                <a:gd name="connsiteY4" fmla="*/ 377680 h 725666"/>
                <a:gd name="connsiteX5" fmla="*/ 400539 w 824374"/>
                <a:gd name="connsiteY5" fmla="*/ 295328 h 725666"/>
                <a:gd name="connsiteX6" fmla="*/ 403728 w 824374"/>
                <a:gd name="connsiteY6" fmla="*/ 283491 h 725666"/>
                <a:gd name="connsiteX7" fmla="*/ 435623 w 824374"/>
                <a:gd name="connsiteY7" fmla="*/ 201810 h 725666"/>
                <a:gd name="connsiteX8" fmla="*/ 451236 w 824374"/>
                <a:gd name="connsiteY8" fmla="*/ 177297 h 725666"/>
                <a:gd name="connsiteX9" fmla="*/ 477508 w 824374"/>
                <a:gd name="connsiteY9" fmla="*/ 119877 h 725666"/>
                <a:gd name="connsiteX10" fmla="*/ 463406 w 824374"/>
                <a:gd name="connsiteY10" fmla="*/ 36685 h 725666"/>
                <a:gd name="connsiteX11" fmla="*/ 457866 w 824374"/>
                <a:gd name="connsiteY11" fmla="*/ 27535 h 725666"/>
                <a:gd name="connsiteX12" fmla="*/ 442171 w 824374"/>
                <a:gd name="connsiteY12" fmla="*/ 0 h 725666"/>
                <a:gd name="connsiteX13" fmla="*/ 0 w 824374"/>
                <a:gd name="connsiteY13" fmla="*/ 12340 h 725666"/>
                <a:gd name="connsiteX14" fmla="*/ 2518 w 824374"/>
                <a:gd name="connsiteY14" fmla="*/ 172764 h 725666"/>
                <a:gd name="connsiteX15" fmla="*/ 2434 w 824374"/>
                <a:gd name="connsiteY15" fmla="*/ 177969 h 725666"/>
                <a:gd name="connsiteX16" fmla="*/ 2686 w 824374"/>
                <a:gd name="connsiteY16" fmla="*/ 187455 h 725666"/>
                <a:gd name="connsiteX17" fmla="*/ 3945 w 824374"/>
                <a:gd name="connsiteY17" fmla="*/ 197109 h 725666"/>
                <a:gd name="connsiteX18" fmla="*/ 7806 w 824374"/>
                <a:gd name="connsiteY18" fmla="*/ 217592 h 725666"/>
                <a:gd name="connsiteX19" fmla="*/ 22747 w 824374"/>
                <a:gd name="connsiteY19" fmla="*/ 237908 h 725666"/>
                <a:gd name="connsiteX20" fmla="*/ 24929 w 824374"/>
                <a:gd name="connsiteY20" fmla="*/ 240258 h 725666"/>
                <a:gd name="connsiteX21" fmla="*/ 30300 w 824374"/>
                <a:gd name="connsiteY21" fmla="*/ 245799 h 725666"/>
                <a:gd name="connsiteX22" fmla="*/ 44821 w 824374"/>
                <a:gd name="connsiteY22" fmla="*/ 266450 h 725666"/>
                <a:gd name="connsiteX23" fmla="*/ 43982 w 824374"/>
                <a:gd name="connsiteY23" fmla="*/ 291634 h 725666"/>
                <a:gd name="connsiteX24" fmla="*/ 42723 w 824374"/>
                <a:gd name="connsiteY24" fmla="*/ 300113 h 725666"/>
                <a:gd name="connsiteX25" fmla="*/ 62951 w 824374"/>
                <a:gd name="connsiteY25" fmla="*/ 337805 h 725666"/>
                <a:gd name="connsiteX26" fmla="*/ 82508 w 824374"/>
                <a:gd name="connsiteY26" fmla="*/ 361898 h 725666"/>
                <a:gd name="connsiteX27" fmla="*/ 85026 w 824374"/>
                <a:gd name="connsiteY27" fmla="*/ 388426 h 725666"/>
                <a:gd name="connsiteX28" fmla="*/ 84690 w 824374"/>
                <a:gd name="connsiteY28" fmla="*/ 396317 h 725666"/>
                <a:gd name="connsiteX29" fmla="*/ 84942 w 824374"/>
                <a:gd name="connsiteY29" fmla="*/ 404963 h 725666"/>
                <a:gd name="connsiteX30" fmla="*/ 81669 w 824374"/>
                <a:gd name="connsiteY30" fmla="*/ 435101 h 725666"/>
                <a:gd name="connsiteX31" fmla="*/ 74115 w 824374"/>
                <a:gd name="connsiteY31" fmla="*/ 446685 h 725666"/>
                <a:gd name="connsiteX32" fmla="*/ 66309 w 824374"/>
                <a:gd name="connsiteY32" fmla="*/ 459278 h 725666"/>
                <a:gd name="connsiteX33" fmla="*/ 57831 w 824374"/>
                <a:gd name="connsiteY33" fmla="*/ 487820 h 725666"/>
                <a:gd name="connsiteX34" fmla="*/ 60853 w 824374"/>
                <a:gd name="connsiteY34" fmla="*/ 516362 h 725666"/>
                <a:gd name="connsiteX35" fmla="*/ 64714 w 824374"/>
                <a:gd name="connsiteY35" fmla="*/ 539616 h 725666"/>
                <a:gd name="connsiteX36" fmla="*/ 49858 w 824374"/>
                <a:gd name="connsiteY36" fmla="*/ 579155 h 725666"/>
                <a:gd name="connsiteX37" fmla="*/ 43226 w 824374"/>
                <a:gd name="connsiteY37" fmla="*/ 590907 h 725666"/>
                <a:gd name="connsiteX38" fmla="*/ 34078 w 824374"/>
                <a:gd name="connsiteY38" fmla="*/ 614161 h 725666"/>
                <a:gd name="connsiteX39" fmla="*/ 32063 w 824374"/>
                <a:gd name="connsiteY39" fmla="*/ 624654 h 725666"/>
                <a:gd name="connsiteX40" fmla="*/ 30300 w 824374"/>
                <a:gd name="connsiteY40" fmla="*/ 634728 h 725666"/>
                <a:gd name="connsiteX41" fmla="*/ 39450 w 824374"/>
                <a:gd name="connsiteY41" fmla="*/ 632545 h 725666"/>
                <a:gd name="connsiteX42" fmla="*/ 78563 w 824374"/>
                <a:gd name="connsiteY42" fmla="*/ 629943 h 725666"/>
                <a:gd name="connsiteX43" fmla="*/ 108360 w 824374"/>
                <a:gd name="connsiteY43" fmla="*/ 618358 h 725666"/>
                <a:gd name="connsiteX44" fmla="*/ 187931 w 824374"/>
                <a:gd name="connsiteY44" fmla="*/ 623899 h 725666"/>
                <a:gd name="connsiteX45" fmla="*/ 288233 w 824374"/>
                <a:gd name="connsiteY45" fmla="*/ 658737 h 725666"/>
                <a:gd name="connsiteX46" fmla="*/ 342204 w 824374"/>
                <a:gd name="connsiteY46" fmla="*/ 610047 h 725666"/>
                <a:gd name="connsiteX47" fmla="*/ 411870 w 824374"/>
                <a:gd name="connsiteY47" fmla="*/ 626166 h 725666"/>
                <a:gd name="connsiteX48" fmla="*/ 449305 w 824374"/>
                <a:gd name="connsiteY48" fmla="*/ 660668 h 725666"/>
                <a:gd name="connsiteX49" fmla="*/ 468526 w 824374"/>
                <a:gd name="connsiteY49" fmla="*/ 668727 h 725666"/>
                <a:gd name="connsiteX50" fmla="*/ 481117 w 824374"/>
                <a:gd name="connsiteY50" fmla="*/ 688035 h 725666"/>
                <a:gd name="connsiteX51" fmla="*/ 523168 w 824374"/>
                <a:gd name="connsiteY51" fmla="*/ 707511 h 725666"/>
                <a:gd name="connsiteX52" fmla="*/ 561191 w 824374"/>
                <a:gd name="connsiteY52" fmla="*/ 710785 h 725666"/>
                <a:gd name="connsiteX53" fmla="*/ 591995 w 824374"/>
                <a:gd name="connsiteY53" fmla="*/ 689126 h 725666"/>
                <a:gd name="connsiteX54" fmla="*/ 642104 w 824374"/>
                <a:gd name="connsiteY54" fmla="*/ 714646 h 725666"/>
                <a:gd name="connsiteX55" fmla="*/ 641433 w 824374"/>
                <a:gd name="connsiteY55" fmla="*/ 633721 h 725666"/>
                <a:gd name="connsiteX56" fmla="*/ 674503 w 824374"/>
                <a:gd name="connsiteY56" fmla="*/ 641864 h 725666"/>
                <a:gd name="connsiteX57" fmla="*/ 702538 w 824374"/>
                <a:gd name="connsiteY57" fmla="*/ 664278 h 725666"/>
                <a:gd name="connsiteX58" fmla="*/ 764062 w 824374"/>
                <a:gd name="connsiteY58" fmla="*/ 700711 h 725666"/>
                <a:gd name="connsiteX59" fmla="*/ 783535 w 824374"/>
                <a:gd name="connsiteY59" fmla="*/ 703481 h 725666"/>
                <a:gd name="connsiteX60" fmla="*/ 789411 w 824374"/>
                <a:gd name="connsiteY60" fmla="*/ 717500 h 725666"/>
                <a:gd name="connsiteX61" fmla="*/ 824160 w 824374"/>
                <a:gd name="connsiteY61" fmla="*/ 708770 h 725666"/>
                <a:gd name="connsiteX62" fmla="*/ 812157 w 824374"/>
                <a:gd name="connsiteY62" fmla="*/ 689462 h 725666"/>
                <a:gd name="connsiteX63" fmla="*/ 804603 w 824374"/>
                <a:gd name="connsiteY63" fmla="*/ 675527 h 725666"/>
                <a:gd name="connsiteX64" fmla="*/ 769518 w 824374"/>
                <a:gd name="connsiteY64" fmla="*/ 647824 h 725666"/>
                <a:gd name="connsiteX65" fmla="*/ 740225 w 824374"/>
                <a:gd name="connsiteY65" fmla="*/ 625158 h 725666"/>
                <a:gd name="connsiteX66" fmla="*/ 728977 w 824374"/>
                <a:gd name="connsiteY66" fmla="*/ 608620 h 725666"/>
                <a:gd name="connsiteX67" fmla="*/ 748282 w 824374"/>
                <a:gd name="connsiteY67" fmla="*/ 586206 h 725666"/>
                <a:gd name="connsiteX68" fmla="*/ 767000 w 824374"/>
                <a:gd name="connsiteY68" fmla="*/ 552459 h 725666"/>
                <a:gd name="connsiteX69" fmla="*/ 727802 w 824374"/>
                <a:gd name="connsiteY69" fmla="*/ 535586 h 725666"/>
                <a:gd name="connsiteX70" fmla="*/ 702202 w 824374"/>
                <a:gd name="connsiteY70" fmla="*/ 563540 h 725666"/>
                <a:gd name="connsiteX71" fmla="*/ 700019 w 824374"/>
                <a:gd name="connsiteY71" fmla="*/ 529878 h 725666"/>
                <a:gd name="connsiteX72" fmla="*/ 723522 w 824374"/>
                <a:gd name="connsiteY72" fmla="*/ 506456 h 725666"/>
                <a:gd name="connsiteX73" fmla="*/ 702622 w 824374"/>
                <a:gd name="connsiteY73" fmla="*/ 474556 h 725666"/>
                <a:gd name="connsiteX74" fmla="*/ 680043 w 824374"/>
                <a:gd name="connsiteY74" fmla="*/ 440137 h 72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824374" h="725666">
                  <a:moveTo>
                    <a:pt x="680295" y="439969"/>
                  </a:moveTo>
                  <a:lnTo>
                    <a:pt x="679959" y="438878"/>
                  </a:lnTo>
                  <a:cubicBezTo>
                    <a:pt x="675678" y="423600"/>
                    <a:pt x="672657" y="412519"/>
                    <a:pt x="680714" y="396401"/>
                  </a:cubicBezTo>
                  <a:cubicBezTo>
                    <a:pt x="687009" y="383808"/>
                    <a:pt x="689444" y="374910"/>
                    <a:pt x="690032" y="362234"/>
                  </a:cubicBezTo>
                  <a:lnTo>
                    <a:pt x="393404" y="377680"/>
                  </a:lnTo>
                  <a:cubicBezTo>
                    <a:pt x="387697" y="349726"/>
                    <a:pt x="393656" y="320260"/>
                    <a:pt x="400539" y="295328"/>
                  </a:cubicBezTo>
                  <a:cubicBezTo>
                    <a:pt x="401630" y="291382"/>
                    <a:pt x="402721" y="287437"/>
                    <a:pt x="403728" y="283491"/>
                  </a:cubicBezTo>
                  <a:cubicBezTo>
                    <a:pt x="410947" y="255872"/>
                    <a:pt x="423537" y="223804"/>
                    <a:pt x="435623" y="201810"/>
                  </a:cubicBezTo>
                  <a:cubicBezTo>
                    <a:pt x="440240" y="193415"/>
                    <a:pt x="445864" y="185272"/>
                    <a:pt x="451236" y="177297"/>
                  </a:cubicBezTo>
                  <a:cubicBezTo>
                    <a:pt x="463994" y="158577"/>
                    <a:pt x="476080" y="140864"/>
                    <a:pt x="477508" y="119877"/>
                  </a:cubicBezTo>
                  <a:cubicBezTo>
                    <a:pt x="479354" y="93434"/>
                    <a:pt x="479102" y="62877"/>
                    <a:pt x="463406" y="36685"/>
                  </a:cubicBezTo>
                  <a:cubicBezTo>
                    <a:pt x="461560" y="33579"/>
                    <a:pt x="459713" y="30557"/>
                    <a:pt x="457866" y="27535"/>
                  </a:cubicBezTo>
                  <a:cubicBezTo>
                    <a:pt x="452243" y="18301"/>
                    <a:pt x="446787" y="9318"/>
                    <a:pt x="442171" y="0"/>
                  </a:cubicBezTo>
                  <a:lnTo>
                    <a:pt x="0" y="12340"/>
                  </a:lnTo>
                  <a:lnTo>
                    <a:pt x="2518" y="172764"/>
                  </a:lnTo>
                  <a:cubicBezTo>
                    <a:pt x="2518" y="174443"/>
                    <a:pt x="2518" y="176206"/>
                    <a:pt x="2434" y="177969"/>
                  </a:cubicBezTo>
                  <a:cubicBezTo>
                    <a:pt x="2350" y="181243"/>
                    <a:pt x="2182" y="184601"/>
                    <a:pt x="2686" y="187455"/>
                  </a:cubicBezTo>
                  <a:cubicBezTo>
                    <a:pt x="3190" y="190141"/>
                    <a:pt x="3525" y="193499"/>
                    <a:pt x="3945" y="197109"/>
                  </a:cubicBezTo>
                  <a:cubicBezTo>
                    <a:pt x="4784" y="204412"/>
                    <a:pt x="5708" y="212723"/>
                    <a:pt x="7806" y="217592"/>
                  </a:cubicBezTo>
                  <a:cubicBezTo>
                    <a:pt x="10827" y="224644"/>
                    <a:pt x="17207" y="231695"/>
                    <a:pt x="22747" y="237908"/>
                  </a:cubicBezTo>
                  <a:lnTo>
                    <a:pt x="24929" y="240258"/>
                  </a:lnTo>
                  <a:cubicBezTo>
                    <a:pt x="26607" y="242105"/>
                    <a:pt x="28370" y="243952"/>
                    <a:pt x="30300" y="245799"/>
                  </a:cubicBezTo>
                  <a:cubicBezTo>
                    <a:pt x="36428" y="251927"/>
                    <a:pt x="42807" y="258307"/>
                    <a:pt x="44821" y="266450"/>
                  </a:cubicBezTo>
                  <a:cubicBezTo>
                    <a:pt x="46836" y="274593"/>
                    <a:pt x="45325" y="283659"/>
                    <a:pt x="43982" y="291634"/>
                  </a:cubicBezTo>
                  <a:cubicBezTo>
                    <a:pt x="43478" y="294656"/>
                    <a:pt x="42975" y="297510"/>
                    <a:pt x="42723" y="300113"/>
                  </a:cubicBezTo>
                  <a:cubicBezTo>
                    <a:pt x="41212" y="316734"/>
                    <a:pt x="51788" y="326976"/>
                    <a:pt x="62951" y="337805"/>
                  </a:cubicBezTo>
                  <a:cubicBezTo>
                    <a:pt x="70338" y="344941"/>
                    <a:pt x="77976" y="352328"/>
                    <a:pt x="82508" y="361898"/>
                  </a:cubicBezTo>
                  <a:cubicBezTo>
                    <a:pt x="86118" y="369370"/>
                    <a:pt x="85530" y="379527"/>
                    <a:pt x="85026" y="388426"/>
                  </a:cubicBezTo>
                  <a:cubicBezTo>
                    <a:pt x="84858" y="391196"/>
                    <a:pt x="84690" y="393966"/>
                    <a:pt x="84690" y="396317"/>
                  </a:cubicBezTo>
                  <a:cubicBezTo>
                    <a:pt x="84690" y="399087"/>
                    <a:pt x="84858" y="401941"/>
                    <a:pt x="84942" y="404963"/>
                  </a:cubicBezTo>
                  <a:cubicBezTo>
                    <a:pt x="85362" y="414869"/>
                    <a:pt x="85950" y="426118"/>
                    <a:pt x="81669" y="435101"/>
                  </a:cubicBezTo>
                  <a:cubicBezTo>
                    <a:pt x="79570" y="439382"/>
                    <a:pt x="76800" y="443076"/>
                    <a:pt x="74115" y="446685"/>
                  </a:cubicBezTo>
                  <a:cubicBezTo>
                    <a:pt x="71009" y="450799"/>
                    <a:pt x="68071" y="454660"/>
                    <a:pt x="66309" y="459278"/>
                  </a:cubicBezTo>
                  <a:cubicBezTo>
                    <a:pt x="63875" y="465657"/>
                    <a:pt x="59510" y="477830"/>
                    <a:pt x="57831" y="487820"/>
                  </a:cubicBezTo>
                  <a:cubicBezTo>
                    <a:pt x="56069" y="498313"/>
                    <a:pt x="58419" y="507044"/>
                    <a:pt x="60853" y="516362"/>
                  </a:cubicBezTo>
                  <a:cubicBezTo>
                    <a:pt x="62783" y="523665"/>
                    <a:pt x="64714" y="531137"/>
                    <a:pt x="64714" y="539616"/>
                  </a:cubicBezTo>
                  <a:cubicBezTo>
                    <a:pt x="64714" y="553886"/>
                    <a:pt x="57160" y="566730"/>
                    <a:pt x="49858" y="579155"/>
                  </a:cubicBezTo>
                  <a:cubicBezTo>
                    <a:pt x="47507" y="583100"/>
                    <a:pt x="45241" y="587046"/>
                    <a:pt x="43226" y="590907"/>
                  </a:cubicBezTo>
                  <a:cubicBezTo>
                    <a:pt x="39953" y="597371"/>
                    <a:pt x="37183" y="604339"/>
                    <a:pt x="34078" y="614161"/>
                  </a:cubicBezTo>
                  <a:cubicBezTo>
                    <a:pt x="33239" y="616679"/>
                    <a:pt x="32734" y="620541"/>
                    <a:pt x="32063" y="624654"/>
                  </a:cubicBezTo>
                  <a:cubicBezTo>
                    <a:pt x="31560" y="628096"/>
                    <a:pt x="31056" y="631538"/>
                    <a:pt x="30300" y="634728"/>
                  </a:cubicBezTo>
                  <a:cubicBezTo>
                    <a:pt x="33490" y="633889"/>
                    <a:pt x="36596" y="633133"/>
                    <a:pt x="39450" y="632545"/>
                  </a:cubicBezTo>
                  <a:cubicBezTo>
                    <a:pt x="52375" y="630111"/>
                    <a:pt x="65721" y="632126"/>
                    <a:pt x="78563" y="629943"/>
                  </a:cubicBezTo>
                  <a:cubicBezTo>
                    <a:pt x="89811" y="628012"/>
                    <a:pt x="98120" y="620793"/>
                    <a:pt x="108360" y="618358"/>
                  </a:cubicBezTo>
                  <a:cubicBezTo>
                    <a:pt x="131358" y="613070"/>
                    <a:pt x="165604" y="617015"/>
                    <a:pt x="187931" y="623899"/>
                  </a:cubicBezTo>
                  <a:cubicBezTo>
                    <a:pt x="219742" y="633721"/>
                    <a:pt x="252897" y="669314"/>
                    <a:pt x="288233" y="658737"/>
                  </a:cubicBezTo>
                  <a:cubicBezTo>
                    <a:pt x="313162" y="651266"/>
                    <a:pt x="318198" y="617435"/>
                    <a:pt x="342204" y="610047"/>
                  </a:cubicBezTo>
                  <a:cubicBezTo>
                    <a:pt x="363943" y="603332"/>
                    <a:pt x="395922" y="614749"/>
                    <a:pt x="411870" y="626166"/>
                  </a:cubicBezTo>
                  <a:cubicBezTo>
                    <a:pt x="426223" y="636575"/>
                    <a:pt x="432686" y="652189"/>
                    <a:pt x="449305" y="660668"/>
                  </a:cubicBezTo>
                  <a:cubicBezTo>
                    <a:pt x="455517" y="663858"/>
                    <a:pt x="462902" y="664865"/>
                    <a:pt x="468526" y="668727"/>
                  </a:cubicBezTo>
                  <a:cubicBezTo>
                    <a:pt x="473646" y="672253"/>
                    <a:pt x="477087" y="683082"/>
                    <a:pt x="481117" y="688035"/>
                  </a:cubicBezTo>
                  <a:cubicBezTo>
                    <a:pt x="493203" y="703062"/>
                    <a:pt x="506045" y="701299"/>
                    <a:pt x="523168" y="707511"/>
                  </a:cubicBezTo>
                  <a:cubicBezTo>
                    <a:pt x="537017" y="712547"/>
                    <a:pt x="545327" y="720523"/>
                    <a:pt x="561191" y="710785"/>
                  </a:cubicBezTo>
                  <a:cubicBezTo>
                    <a:pt x="574285" y="702726"/>
                    <a:pt x="572942" y="682410"/>
                    <a:pt x="591995" y="689126"/>
                  </a:cubicBezTo>
                  <a:cubicBezTo>
                    <a:pt x="612559" y="696346"/>
                    <a:pt x="613231" y="723545"/>
                    <a:pt x="642104" y="714646"/>
                  </a:cubicBezTo>
                  <a:cubicBezTo>
                    <a:pt x="679456" y="703145"/>
                    <a:pt x="625569" y="646733"/>
                    <a:pt x="641433" y="633721"/>
                  </a:cubicBezTo>
                  <a:cubicBezTo>
                    <a:pt x="651589" y="625326"/>
                    <a:pt x="663340" y="636743"/>
                    <a:pt x="674503" y="641864"/>
                  </a:cubicBezTo>
                  <a:cubicBezTo>
                    <a:pt x="687262" y="647740"/>
                    <a:pt x="691626" y="656806"/>
                    <a:pt x="702538" y="664278"/>
                  </a:cubicBezTo>
                  <a:cubicBezTo>
                    <a:pt x="719157" y="675695"/>
                    <a:pt x="745597" y="695002"/>
                    <a:pt x="764062" y="700711"/>
                  </a:cubicBezTo>
                  <a:cubicBezTo>
                    <a:pt x="769098" y="702306"/>
                    <a:pt x="779254" y="700711"/>
                    <a:pt x="783535" y="703481"/>
                  </a:cubicBezTo>
                  <a:cubicBezTo>
                    <a:pt x="791509" y="708518"/>
                    <a:pt x="785130" y="709525"/>
                    <a:pt x="789411" y="717500"/>
                  </a:cubicBezTo>
                  <a:cubicBezTo>
                    <a:pt x="797384" y="732443"/>
                    <a:pt x="821642" y="725308"/>
                    <a:pt x="824160" y="708770"/>
                  </a:cubicBezTo>
                  <a:cubicBezTo>
                    <a:pt x="825755" y="698192"/>
                    <a:pt x="818116" y="696262"/>
                    <a:pt x="812157" y="689462"/>
                  </a:cubicBezTo>
                  <a:cubicBezTo>
                    <a:pt x="807792" y="684425"/>
                    <a:pt x="807708" y="680563"/>
                    <a:pt x="804603" y="675527"/>
                  </a:cubicBezTo>
                  <a:cubicBezTo>
                    <a:pt x="796629" y="662683"/>
                    <a:pt x="781605" y="657310"/>
                    <a:pt x="769518" y="647824"/>
                  </a:cubicBezTo>
                  <a:cubicBezTo>
                    <a:pt x="759614" y="640185"/>
                    <a:pt x="750297" y="630950"/>
                    <a:pt x="740225" y="625158"/>
                  </a:cubicBezTo>
                  <a:cubicBezTo>
                    <a:pt x="729901" y="619198"/>
                    <a:pt x="724948" y="621045"/>
                    <a:pt x="728977" y="608620"/>
                  </a:cubicBezTo>
                  <a:cubicBezTo>
                    <a:pt x="731075" y="602324"/>
                    <a:pt x="743078" y="590740"/>
                    <a:pt x="748282" y="586206"/>
                  </a:cubicBezTo>
                  <a:cubicBezTo>
                    <a:pt x="759362" y="576468"/>
                    <a:pt x="778331" y="571264"/>
                    <a:pt x="767000" y="552459"/>
                  </a:cubicBezTo>
                  <a:cubicBezTo>
                    <a:pt x="759362" y="539783"/>
                    <a:pt x="742071" y="529794"/>
                    <a:pt x="727802" y="535586"/>
                  </a:cubicBezTo>
                  <a:cubicBezTo>
                    <a:pt x="714288" y="541042"/>
                    <a:pt x="716806" y="563624"/>
                    <a:pt x="702202" y="563540"/>
                  </a:cubicBezTo>
                  <a:cubicBezTo>
                    <a:pt x="684660" y="563540"/>
                    <a:pt x="696075" y="539028"/>
                    <a:pt x="700019" y="529878"/>
                  </a:cubicBezTo>
                  <a:cubicBezTo>
                    <a:pt x="705643" y="516950"/>
                    <a:pt x="713701" y="511073"/>
                    <a:pt x="723522" y="506456"/>
                  </a:cubicBezTo>
                  <a:cubicBezTo>
                    <a:pt x="720500" y="494619"/>
                    <a:pt x="711854" y="484798"/>
                    <a:pt x="702622" y="474556"/>
                  </a:cubicBezTo>
                  <a:cubicBezTo>
                    <a:pt x="693389" y="464230"/>
                    <a:pt x="683820" y="453485"/>
                    <a:pt x="680043" y="440137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E0C4A616-9B11-6E63-173C-AA6914433628}"/>
                </a:ext>
              </a:extLst>
            </p:cNvPr>
            <p:cNvSpPr/>
            <p:nvPr/>
          </p:nvSpPr>
          <p:spPr>
            <a:xfrm>
              <a:off x="11073498" y="2555145"/>
              <a:ext cx="219450" cy="436906"/>
            </a:xfrm>
            <a:custGeom>
              <a:avLst/>
              <a:gdLst>
                <a:gd name="connsiteX0" fmla="*/ 30552 w 242957"/>
                <a:gd name="connsiteY0" fmla="*/ 190897 h 483706"/>
                <a:gd name="connsiteX1" fmla="*/ 32986 w 242957"/>
                <a:gd name="connsiteY1" fmla="*/ 225567 h 483706"/>
                <a:gd name="connsiteX2" fmla="*/ 30552 w 242957"/>
                <a:gd name="connsiteY2" fmla="*/ 245547 h 483706"/>
                <a:gd name="connsiteX3" fmla="*/ 42387 w 242957"/>
                <a:gd name="connsiteY3" fmla="*/ 278790 h 483706"/>
                <a:gd name="connsiteX4" fmla="*/ 50697 w 242957"/>
                <a:gd name="connsiteY4" fmla="*/ 294824 h 483706"/>
                <a:gd name="connsiteX5" fmla="*/ 56824 w 242957"/>
                <a:gd name="connsiteY5" fmla="*/ 315643 h 483706"/>
                <a:gd name="connsiteX6" fmla="*/ 65805 w 242957"/>
                <a:gd name="connsiteY6" fmla="*/ 341583 h 483706"/>
                <a:gd name="connsiteX7" fmla="*/ 77556 w 242957"/>
                <a:gd name="connsiteY7" fmla="*/ 350481 h 483706"/>
                <a:gd name="connsiteX8" fmla="*/ 92748 w 242957"/>
                <a:gd name="connsiteY8" fmla="*/ 363493 h 483706"/>
                <a:gd name="connsiteX9" fmla="*/ 95266 w 242957"/>
                <a:gd name="connsiteY9" fmla="*/ 382717 h 483706"/>
                <a:gd name="connsiteX10" fmla="*/ 95854 w 242957"/>
                <a:gd name="connsiteY10" fmla="*/ 392959 h 483706"/>
                <a:gd name="connsiteX11" fmla="*/ 101561 w 242957"/>
                <a:gd name="connsiteY11" fmla="*/ 422341 h 483706"/>
                <a:gd name="connsiteX12" fmla="*/ 112725 w 242957"/>
                <a:gd name="connsiteY12" fmla="*/ 483706 h 483706"/>
                <a:gd name="connsiteX13" fmla="*/ 194226 w 242957"/>
                <a:gd name="connsiteY13" fmla="*/ 470107 h 483706"/>
                <a:gd name="connsiteX14" fmla="*/ 197499 w 242957"/>
                <a:gd name="connsiteY14" fmla="*/ 440054 h 483706"/>
                <a:gd name="connsiteX15" fmla="*/ 201024 w 242957"/>
                <a:gd name="connsiteY15" fmla="*/ 404628 h 483706"/>
                <a:gd name="connsiteX16" fmla="*/ 189861 w 242957"/>
                <a:gd name="connsiteY16" fmla="*/ 342087 h 483706"/>
                <a:gd name="connsiteX17" fmla="*/ 184657 w 242957"/>
                <a:gd name="connsiteY17" fmla="*/ 323450 h 483706"/>
                <a:gd name="connsiteX18" fmla="*/ 190533 w 242957"/>
                <a:gd name="connsiteY18" fmla="*/ 265778 h 483706"/>
                <a:gd name="connsiteX19" fmla="*/ 196828 w 242957"/>
                <a:gd name="connsiteY19" fmla="*/ 240258 h 483706"/>
                <a:gd name="connsiteX20" fmla="*/ 199262 w 242957"/>
                <a:gd name="connsiteY20" fmla="*/ 210876 h 483706"/>
                <a:gd name="connsiteX21" fmla="*/ 207907 w 242957"/>
                <a:gd name="connsiteY21" fmla="*/ 157150 h 483706"/>
                <a:gd name="connsiteX22" fmla="*/ 224694 w 242957"/>
                <a:gd name="connsiteY22" fmla="*/ 133477 h 483706"/>
                <a:gd name="connsiteX23" fmla="*/ 235690 w 242957"/>
                <a:gd name="connsiteY23" fmla="*/ 120885 h 483706"/>
                <a:gd name="connsiteX24" fmla="*/ 242824 w 242957"/>
                <a:gd name="connsiteY24" fmla="*/ 88901 h 483706"/>
                <a:gd name="connsiteX25" fmla="*/ 229311 w 242957"/>
                <a:gd name="connsiteY25" fmla="*/ 75805 h 483706"/>
                <a:gd name="connsiteX26" fmla="*/ 231829 w 242957"/>
                <a:gd name="connsiteY26" fmla="*/ 37441 h 483706"/>
                <a:gd name="connsiteX27" fmla="*/ 226373 w 242957"/>
                <a:gd name="connsiteY27" fmla="*/ 19644 h 483706"/>
                <a:gd name="connsiteX28" fmla="*/ 222596 w 242957"/>
                <a:gd name="connsiteY28" fmla="*/ 16622 h 483706"/>
                <a:gd name="connsiteX29" fmla="*/ 208747 w 242957"/>
                <a:gd name="connsiteY29" fmla="*/ 0 h 483706"/>
                <a:gd name="connsiteX30" fmla="*/ 191120 w 242957"/>
                <a:gd name="connsiteY30" fmla="*/ 11669 h 483706"/>
                <a:gd name="connsiteX31" fmla="*/ 155112 w 242957"/>
                <a:gd name="connsiteY31" fmla="*/ 27787 h 483706"/>
                <a:gd name="connsiteX32" fmla="*/ 41632 w 242957"/>
                <a:gd name="connsiteY32" fmla="*/ 71523 h 483706"/>
                <a:gd name="connsiteX33" fmla="*/ 0 w 242957"/>
                <a:gd name="connsiteY33" fmla="*/ 80338 h 483706"/>
                <a:gd name="connsiteX34" fmla="*/ 13429 w 242957"/>
                <a:gd name="connsiteY34" fmla="*/ 134484 h 483706"/>
                <a:gd name="connsiteX35" fmla="*/ 30216 w 242957"/>
                <a:gd name="connsiteY35" fmla="*/ 190813 h 48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2957" h="483706">
                  <a:moveTo>
                    <a:pt x="30552" y="190897"/>
                  </a:moveTo>
                  <a:cubicBezTo>
                    <a:pt x="37603" y="204329"/>
                    <a:pt x="35252" y="215158"/>
                    <a:pt x="32986" y="225567"/>
                  </a:cubicBezTo>
                  <a:cubicBezTo>
                    <a:pt x="31643" y="231779"/>
                    <a:pt x="30300" y="238159"/>
                    <a:pt x="30552" y="245547"/>
                  </a:cubicBezTo>
                  <a:cubicBezTo>
                    <a:pt x="31056" y="258727"/>
                    <a:pt x="36596" y="268465"/>
                    <a:pt x="42387" y="278790"/>
                  </a:cubicBezTo>
                  <a:cubicBezTo>
                    <a:pt x="45241" y="283827"/>
                    <a:pt x="48179" y="289032"/>
                    <a:pt x="50697" y="294824"/>
                  </a:cubicBezTo>
                  <a:cubicBezTo>
                    <a:pt x="53383" y="301120"/>
                    <a:pt x="55145" y="308508"/>
                    <a:pt x="56824" y="315643"/>
                  </a:cubicBezTo>
                  <a:cubicBezTo>
                    <a:pt x="59090" y="325129"/>
                    <a:pt x="61357" y="334951"/>
                    <a:pt x="65805" y="341583"/>
                  </a:cubicBezTo>
                  <a:cubicBezTo>
                    <a:pt x="68155" y="344941"/>
                    <a:pt x="72940" y="347795"/>
                    <a:pt x="77556" y="350481"/>
                  </a:cubicBezTo>
                  <a:cubicBezTo>
                    <a:pt x="83599" y="354007"/>
                    <a:pt x="89810" y="357617"/>
                    <a:pt x="92748" y="363493"/>
                  </a:cubicBezTo>
                  <a:cubicBezTo>
                    <a:pt x="95014" y="368026"/>
                    <a:pt x="95182" y="375498"/>
                    <a:pt x="95266" y="382717"/>
                  </a:cubicBezTo>
                  <a:cubicBezTo>
                    <a:pt x="95266" y="386747"/>
                    <a:pt x="95434" y="390608"/>
                    <a:pt x="95854" y="392959"/>
                  </a:cubicBezTo>
                  <a:cubicBezTo>
                    <a:pt x="97700" y="402613"/>
                    <a:pt x="99631" y="412435"/>
                    <a:pt x="101561" y="422341"/>
                  </a:cubicBezTo>
                  <a:cubicBezTo>
                    <a:pt x="105590" y="442572"/>
                    <a:pt x="109619" y="463223"/>
                    <a:pt x="112725" y="483706"/>
                  </a:cubicBezTo>
                  <a:cubicBezTo>
                    <a:pt x="123720" y="482027"/>
                    <a:pt x="155867" y="477075"/>
                    <a:pt x="194226" y="470107"/>
                  </a:cubicBezTo>
                  <a:cubicBezTo>
                    <a:pt x="194646" y="459697"/>
                    <a:pt x="196073" y="449708"/>
                    <a:pt x="197499" y="440054"/>
                  </a:cubicBezTo>
                  <a:cubicBezTo>
                    <a:pt x="199178" y="428721"/>
                    <a:pt x="200941" y="416968"/>
                    <a:pt x="201024" y="404628"/>
                  </a:cubicBezTo>
                  <a:cubicBezTo>
                    <a:pt x="201024" y="381038"/>
                    <a:pt x="195904" y="362990"/>
                    <a:pt x="189861" y="342087"/>
                  </a:cubicBezTo>
                  <a:cubicBezTo>
                    <a:pt x="188183" y="336126"/>
                    <a:pt x="186420" y="329998"/>
                    <a:pt x="184657" y="323450"/>
                  </a:cubicBezTo>
                  <a:cubicBezTo>
                    <a:pt x="179454" y="303555"/>
                    <a:pt x="185077" y="284331"/>
                    <a:pt x="190533" y="265778"/>
                  </a:cubicBezTo>
                  <a:cubicBezTo>
                    <a:pt x="193134" y="256964"/>
                    <a:pt x="195569" y="248569"/>
                    <a:pt x="196828" y="240258"/>
                  </a:cubicBezTo>
                  <a:cubicBezTo>
                    <a:pt x="198339" y="230688"/>
                    <a:pt x="198843" y="220614"/>
                    <a:pt x="199262" y="210876"/>
                  </a:cubicBezTo>
                  <a:cubicBezTo>
                    <a:pt x="200101" y="193080"/>
                    <a:pt x="201024" y="174611"/>
                    <a:pt x="207907" y="157150"/>
                  </a:cubicBezTo>
                  <a:cubicBezTo>
                    <a:pt x="212272" y="146153"/>
                    <a:pt x="218567" y="139689"/>
                    <a:pt x="224694" y="133477"/>
                  </a:cubicBezTo>
                  <a:cubicBezTo>
                    <a:pt x="228387" y="129783"/>
                    <a:pt x="232165" y="125838"/>
                    <a:pt x="235690" y="120885"/>
                  </a:cubicBezTo>
                  <a:cubicBezTo>
                    <a:pt x="242237" y="111818"/>
                    <a:pt x="243412" y="101409"/>
                    <a:pt x="242824" y="88901"/>
                  </a:cubicBezTo>
                  <a:cubicBezTo>
                    <a:pt x="236697" y="86466"/>
                    <a:pt x="232081" y="82017"/>
                    <a:pt x="229311" y="75805"/>
                  </a:cubicBezTo>
                  <a:cubicBezTo>
                    <a:pt x="224107" y="63968"/>
                    <a:pt x="226625" y="47514"/>
                    <a:pt x="231829" y="37441"/>
                  </a:cubicBezTo>
                  <a:cubicBezTo>
                    <a:pt x="235019" y="31285"/>
                    <a:pt x="233197" y="25352"/>
                    <a:pt x="226373" y="19644"/>
                  </a:cubicBezTo>
                  <a:cubicBezTo>
                    <a:pt x="225030" y="18552"/>
                    <a:pt x="223855" y="17545"/>
                    <a:pt x="222596" y="16622"/>
                  </a:cubicBezTo>
                  <a:cubicBezTo>
                    <a:pt x="217728" y="12844"/>
                    <a:pt x="211433" y="7471"/>
                    <a:pt x="208747" y="0"/>
                  </a:cubicBezTo>
                  <a:cubicBezTo>
                    <a:pt x="203878" y="4701"/>
                    <a:pt x="198255" y="8647"/>
                    <a:pt x="191120" y="11669"/>
                  </a:cubicBezTo>
                  <a:cubicBezTo>
                    <a:pt x="179370" y="16538"/>
                    <a:pt x="167786" y="22162"/>
                    <a:pt x="155112" y="27787"/>
                  </a:cubicBezTo>
                  <a:cubicBezTo>
                    <a:pt x="118600" y="43737"/>
                    <a:pt x="80830" y="65563"/>
                    <a:pt x="41632" y="71523"/>
                  </a:cubicBezTo>
                  <a:cubicBezTo>
                    <a:pt x="27279" y="73706"/>
                    <a:pt x="13597" y="76812"/>
                    <a:pt x="0" y="80338"/>
                  </a:cubicBezTo>
                  <a:cubicBezTo>
                    <a:pt x="7218" y="98387"/>
                    <a:pt x="12003" y="117443"/>
                    <a:pt x="13429" y="134484"/>
                  </a:cubicBezTo>
                  <a:cubicBezTo>
                    <a:pt x="15863" y="163530"/>
                    <a:pt x="17794" y="167140"/>
                    <a:pt x="30216" y="190813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663352D9-949B-C7D9-F131-57A9950C9F64}"/>
                </a:ext>
              </a:extLst>
            </p:cNvPr>
            <p:cNvSpPr/>
            <p:nvPr/>
          </p:nvSpPr>
          <p:spPr>
            <a:xfrm>
              <a:off x="8252602" y="2201338"/>
              <a:ext cx="864078" cy="991954"/>
            </a:xfrm>
            <a:custGeom>
              <a:avLst/>
              <a:gdLst>
                <a:gd name="connsiteX0" fmla="*/ 4616 w 956635"/>
                <a:gd name="connsiteY0" fmla="*/ 145572 h 1098209"/>
                <a:gd name="connsiteX1" fmla="*/ 3525 w 956635"/>
                <a:gd name="connsiteY1" fmla="*/ 190064 h 1098209"/>
                <a:gd name="connsiteX2" fmla="*/ 5372 w 956635"/>
                <a:gd name="connsiteY2" fmla="*/ 226162 h 1098209"/>
                <a:gd name="connsiteX3" fmla="*/ 6127 w 956635"/>
                <a:gd name="connsiteY3" fmla="*/ 246813 h 1098209"/>
                <a:gd name="connsiteX4" fmla="*/ 18969 w 956635"/>
                <a:gd name="connsiteY4" fmla="*/ 290298 h 1098209"/>
                <a:gd name="connsiteX5" fmla="*/ 24677 w 956635"/>
                <a:gd name="connsiteY5" fmla="*/ 303897 h 1098209"/>
                <a:gd name="connsiteX6" fmla="*/ 28622 w 956635"/>
                <a:gd name="connsiteY6" fmla="*/ 313551 h 1098209"/>
                <a:gd name="connsiteX7" fmla="*/ 41800 w 956635"/>
                <a:gd name="connsiteY7" fmla="*/ 364423 h 1098209"/>
                <a:gd name="connsiteX8" fmla="*/ 39617 w 956635"/>
                <a:gd name="connsiteY8" fmla="*/ 405810 h 1098209"/>
                <a:gd name="connsiteX9" fmla="*/ 37603 w 956635"/>
                <a:gd name="connsiteY9" fmla="*/ 429986 h 1098209"/>
                <a:gd name="connsiteX10" fmla="*/ 55733 w 956635"/>
                <a:gd name="connsiteY10" fmla="*/ 541469 h 1098209"/>
                <a:gd name="connsiteX11" fmla="*/ 58671 w 956635"/>
                <a:gd name="connsiteY11" fmla="*/ 548521 h 1098209"/>
                <a:gd name="connsiteX12" fmla="*/ 70841 w 956635"/>
                <a:gd name="connsiteY12" fmla="*/ 651692 h 1098209"/>
                <a:gd name="connsiteX13" fmla="*/ 55817 w 956635"/>
                <a:gd name="connsiteY13" fmla="*/ 676541 h 1098209"/>
                <a:gd name="connsiteX14" fmla="*/ 39114 w 956635"/>
                <a:gd name="connsiteY14" fmla="*/ 707182 h 1098209"/>
                <a:gd name="connsiteX15" fmla="*/ 51536 w 956635"/>
                <a:gd name="connsiteY15" fmla="*/ 732618 h 1098209"/>
                <a:gd name="connsiteX16" fmla="*/ 65889 w 956635"/>
                <a:gd name="connsiteY16" fmla="*/ 746805 h 1098209"/>
                <a:gd name="connsiteX17" fmla="*/ 92245 w 956635"/>
                <a:gd name="connsiteY17" fmla="*/ 933421 h 1098209"/>
                <a:gd name="connsiteX18" fmla="*/ 90062 w 956635"/>
                <a:gd name="connsiteY18" fmla="*/ 988070 h 1098209"/>
                <a:gd name="connsiteX19" fmla="*/ 90062 w 956635"/>
                <a:gd name="connsiteY19" fmla="*/ 1059342 h 1098209"/>
                <a:gd name="connsiteX20" fmla="*/ 90734 w 956635"/>
                <a:gd name="connsiteY20" fmla="*/ 1069752 h 1098209"/>
                <a:gd name="connsiteX21" fmla="*/ 89979 w 956635"/>
                <a:gd name="connsiteY21" fmla="*/ 1096531 h 1098209"/>
                <a:gd name="connsiteX22" fmla="*/ 89139 w 956635"/>
                <a:gd name="connsiteY22" fmla="*/ 1098210 h 1098209"/>
                <a:gd name="connsiteX23" fmla="*/ 785466 w 956635"/>
                <a:gd name="connsiteY23" fmla="*/ 1088724 h 1098209"/>
                <a:gd name="connsiteX24" fmla="*/ 783703 w 956635"/>
                <a:gd name="connsiteY24" fmla="*/ 1071598 h 1098209"/>
                <a:gd name="connsiteX25" fmla="*/ 782612 w 956635"/>
                <a:gd name="connsiteY25" fmla="*/ 1059762 h 1098209"/>
                <a:gd name="connsiteX26" fmla="*/ 745848 w 956635"/>
                <a:gd name="connsiteY26" fmla="*/ 1002761 h 1098209"/>
                <a:gd name="connsiteX27" fmla="*/ 710344 w 956635"/>
                <a:gd name="connsiteY27" fmla="*/ 974975 h 1098209"/>
                <a:gd name="connsiteX28" fmla="*/ 685247 w 956635"/>
                <a:gd name="connsiteY28" fmla="*/ 953148 h 1098209"/>
                <a:gd name="connsiteX29" fmla="*/ 653435 w 956635"/>
                <a:gd name="connsiteY29" fmla="*/ 934596 h 1098209"/>
                <a:gd name="connsiteX30" fmla="*/ 606935 w 956635"/>
                <a:gd name="connsiteY30" fmla="*/ 906054 h 1098209"/>
                <a:gd name="connsiteX31" fmla="*/ 568661 w 956635"/>
                <a:gd name="connsiteY31" fmla="*/ 835705 h 1098209"/>
                <a:gd name="connsiteX32" fmla="*/ 567821 w 956635"/>
                <a:gd name="connsiteY32" fmla="*/ 828738 h 1098209"/>
                <a:gd name="connsiteX33" fmla="*/ 567234 w 956635"/>
                <a:gd name="connsiteY33" fmla="*/ 794319 h 1098209"/>
                <a:gd name="connsiteX34" fmla="*/ 574621 w 956635"/>
                <a:gd name="connsiteY34" fmla="*/ 770982 h 1098209"/>
                <a:gd name="connsiteX35" fmla="*/ 580916 w 956635"/>
                <a:gd name="connsiteY35" fmla="*/ 751758 h 1098209"/>
                <a:gd name="connsiteX36" fmla="*/ 563793 w 956635"/>
                <a:gd name="connsiteY36" fmla="*/ 716584 h 1098209"/>
                <a:gd name="connsiteX37" fmla="*/ 548432 w 956635"/>
                <a:gd name="connsiteY37" fmla="*/ 675365 h 1098209"/>
                <a:gd name="connsiteX38" fmla="*/ 582343 w 956635"/>
                <a:gd name="connsiteY38" fmla="*/ 643969 h 1098209"/>
                <a:gd name="connsiteX39" fmla="*/ 585868 w 956635"/>
                <a:gd name="connsiteY39" fmla="*/ 641618 h 1098209"/>
                <a:gd name="connsiteX40" fmla="*/ 610293 w 956635"/>
                <a:gd name="connsiteY40" fmla="*/ 616938 h 1098209"/>
                <a:gd name="connsiteX41" fmla="*/ 623135 w 956635"/>
                <a:gd name="connsiteY41" fmla="*/ 533494 h 1098209"/>
                <a:gd name="connsiteX42" fmla="*/ 640258 w 956635"/>
                <a:gd name="connsiteY42" fmla="*/ 497900 h 1098209"/>
                <a:gd name="connsiteX43" fmla="*/ 655030 w 956635"/>
                <a:gd name="connsiteY43" fmla="*/ 473723 h 1098209"/>
                <a:gd name="connsiteX44" fmla="*/ 657045 w 956635"/>
                <a:gd name="connsiteY44" fmla="*/ 468686 h 1098209"/>
                <a:gd name="connsiteX45" fmla="*/ 662753 w 956635"/>
                <a:gd name="connsiteY45" fmla="*/ 470953 h 1098209"/>
                <a:gd name="connsiteX46" fmla="*/ 723941 w 956635"/>
                <a:gd name="connsiteY46" fmla="*/ 400269 h 1098209"/>
                <a:gd name="connsiteX47" fmla="*/ 781269 w 956635"/>
                <a:gd name="connsiteY47" fmla="*/ 342849 h 1098209"/>
                <a:gd name="connsiteX48" fmla="*/ 913803 w 956635"/>
                <a:gd name="connsiteY48" fmla="*/ 270150 h 1098209"/>
                <a:gd name="connsiteX49" fmla="*/ 937640 w 956635"/>
                <a:gd name="connsiteY49" fmla="*/ 253948 h 1098209"/>
                <a:gd name="connsiteX50" fmla="*/ 954511 w 956635"/>
                <a:gd name="connsiteY50" fmla="*/ 245050 h 1098209"/>
                <a:gd name="connsiteX51" fmla="*/ 929498 w 956635"/>
                <a:gd name="connsiteY51" fmla="*/ 225070 h 1098209"/>
                <a:gd name="connsiteX52" fmla="*/ 910025 w 956635"/>
                <a:gd name="connsiteY52" fmla="*/ 222552 h 1098209"/>
                <a:gd name="connsiteX53" fmla="*/ 889042 w 956635"/>
                <a:gd name="connsiteY53" fmla="*/ 211219 h 1098209"/>
                <a:gd name="connsiteX54" fmla="*/ 846990 w 956635"/>
                <a:gd name="connsiteY54" fmla="*/ 214577 h 1098209"/>
                <a:gd name="connsiteX55" fmla="*/ 810730 w 956635"/>
                <a:gd name="connsiteY55" fmla="*/ 214577 h 1098209"/>
                <a:gd name="connsiteX56" fmla="*/ 777072 w 956635"/>
                <a:gd name="connsiteY56" fmla="*/ 200306 h 1098209"/>
                <a:gd name="connsiteX57" fmla="*/ 717646 w 956635"/>
                <a:gd name="connsiteY57" fmla="*/ 237578 h 1098209"/>
                <a:gd name="connsiteX58" fmla="*/ 652848 w 956635"/>
                <a:gd name="connsiteY58" fmla="*/ 198207 h 1098209"/>
                <a:gd name="connsiteX59" fmla="*/ 589729 w 956635"/>
                <a:gd name="connsiteY59" fmla="*/ 195521 h 1098209"/>
                <a:gd name="connsiteX60" fmla="*/ 522329 w 956635"/>
                <a:gd name="connsiteY60" fmla="*/ 142885 h 1098209"/>
                <a:gd name="connsiteX61" fmla="*/ 457866 w 956635"/>
                <a:gd name="connsiteY61" fmla="*/ 162445 h 1098209"/>
                <a:gd name="connsiteX62" fmla="*/ 397181 w 956635"/>
                <a:gd name="connsiteY62" fmla="*/ 138604 h 1098209"/>
                <a:gd name="connsiteX63" fmla="*/ 328690 w 956635"/>
                <a:gd name="connsiteY63" fmla="*/ 115686 h 1098209"/>
                <a:gd name="connsiteX64" fmla="*/ 287562 w 956635"/>
                <a:gd name="connsiteY64" fmla="*/ 5715 h 1098209"/>
                <a:gd name="connsiteX65" fmla="*/ 245342 w 956635"/>
                <a:gd name="connsiteY65" fmla="*/ 45254 h 1098209"/>
                <a:gd name="connsiteX66" fmla="*/ 231409 w 956635"/>
                <a:gd name="connsiteY66" fmla="*/ 70187 h 1098209"/>
                <a:gd name="connsiteX67" fmla="*/ 197919 w 956635"/>
                <a:gd name="connsiteY67" fmla="*/ 75811 h 1098209"/>
                <a:gd name="connsiteX68" fmla="*/ 0 w 956635"/>
                <a:gd name="connsiteY68" fmla="*/ 78078 h 1098209"/>
                <a:gd name="connsiteX69" fmla="*/ 4784 w 956635"/>
                <a:gd name="connsiteY69" fmla="*/ 145656 h 1098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956635" h="1098209">
                  <a:moveTo>
                    <a:pt x="4616" y="145572"/>
                  </a:moveTo>
                  <a:cubicBezTo>
                    <a:pt x="3357" y="160011"/>
                    <a:pt x="2098" y="175037"/>
                    <a:pt x="3525" y="190064"/>
                  </a:cubicBezTo>
                  <a:cubicBezTo>
                    <a:pt x="4616" y="202153"/>
                    <a:pt x="5036" y="214325"/>
                    <a:pt x="5372" y="226162"/>
                  </a:cubicBezTo>
                  <a:cubicBezTo>
                    <a:pt x="5540" y="232961"/>
                    <a:pt x="5792" y="239845"/>
                    <a:pt x="6127" y="246813"/>
                  </a:cubicBezTo>
                  <a:cubicBezTo>
                    <a:pt x="6883" y="262763"/>
                    <a:pt x="12758" y="276110"/>
                    <a:pt x="18969" y="290298"/>
                  </a:cubicBezTo>
                  <a:cubicBezTo>
                    <a:pt x="20900" y="294747"/>
                    <a:pt x="22830" y="299196"/>
                    <a:pt x="24677" y="303897"/>
                  </a:cubicBezTo>
                  <a:cubicBezTo>
                    <a:pt x="26020" y="307339"/>
                    <a:pt x="27363" y="310529"/>
                    <a:pt x="28622" y="313551"/>
                  </a:cubicBezTo>
                  <a:cubicBezTo>
                    <a:pt x="35504" y="330257"/>
                    <a:pt x="40876" y="343520"/>
                    <a:pt x="41800" y="364423"/>
                  </a:cubicBezTo>
                  <a:cubicBezTo>
                    <a:pt x="42471" y="378611"/>
                    <a:pt x="41044" y="392462"/>
                    <a:pt x="39617" y="405810"/>
                  </a:cubicBezTo>
                  <a:cubicBezTo>
                    <a:pt x="38778" y="413701"/>
                    <a:pt x="37939" y="421844"/>
                    <a:pt x="37603" y="429986"/>
                  </a:cubicBezTo>
                  <a:cubicBezTo>
                    <a:pt x="35756" y="468518"/>
                    <a:pt x="42387" y="509233"/>
                    <a:pt x="55733" y="541469"/>
                  </a:cubicBezTo>
                  <a:lnTo>
                    <a:pt x="58671" y="548521"/>
                  </a:lnTo>
                  <a:cubicBezTo>
                    <a:pt x="72184" y="580756"/>
                    <a:pt x="86201" y="614084"/>
                    <a:pt x="70841" y="651692"/>
                  </a:cubicBezTo>
                  <a:cubicBezTo>
                    <a:pt x="67316" y="660339"/>
                    <a:pt x="61441" y="668566"/>
                    <a:pt x="55817" y="676541"/>
                  </a:cubicBezTo>
                  <a:cubicBezTo>
                    <a:pt x="48766" y="686447"/>
                    <a:pt x="41464" y="696688"/>
                    <a:pt x="39114" y="707182"/>
                  </a:cubicBezTo>
                  <a:cubicBezTo>
                    <a:pt x="36176" y="719942"/>
                    <a:pt x="42303" y="724978"/>
                    <a:pt x="51536" y="732618"/>
                  </a:cubicBezTo>
                  <a:cubicBezTo>
                    <a:pt x="56236" y="736479"/>
                    <a:pt x="61524" y="740845"/>
                    <a:pt x="65889" y="746805"/>
                  </a:cubicBezTo>
                  <a:cubicBezTo>
                    <a:pt x="100302" y="793312"/>
                    <a:pt x="96022" y="867773"/>
                    <a:pt x="92245" y="933421"/>
                  </a:cubicBezTo>
                  <a:cubicBezTo>
                    <a:pt x="91154" y="952896"/>
                    <a:pt x="90062" y="971365"/>
                    <a:pt x="90062" y="988070"/>
                  </a:cubicBezTo>
                  <a:lnTo>
                    <a:pt x="90062" y="1059342"/>
                  </a:lnTo>
                  <a:cubicBezTo>
                    <a:pt x="90062" y="1062196"/>
                    <a:pt x="90398" y="1065890"/>
                    <a:pt x="90734" y="1069752"/>
                  </a:cubicBezTo>
                  <a:cubicBezTo>
                    <a:pt x="91573" y="1079070"/>
                    <a:pt x="92412" y="1089563"/>
                    <a:pt x="89979" y="1096531"/>
                  </a:cubicBezTo>
                  <a:cubicBezTo>
                    <a:pt x="89727" y="1097118"/>
                    <a:pt x="89391" y="1097622"/>
                    <a:pt x="89139" y="1098210"/>
                  </a:cubicBezTo>
                  <a:lnTo>
                    <a:pt x="785466" y="1088724"/>
                  </a:lnTo>
                  <a:cubicBezTo>
                    <a:pt x="784794" y="1083015"/>
                    <a:pt x="784207" y="1077391"/>
                    <a:pt x="783703" y="1071598"/>
                  </a:cubicBezTo>
                  <a:cubicBezTo>
                    <a:pt x="783367" y="1067653"/>
                    <a:pt x="783031" y="1063791"/>
                    <a:pt x="782612" y="1059762"/>
                  </a:cubicBezTo>
                  <a:cubicBezTo>
                    <a:pt x="779338" y="1027862"/>
                    <a:pt x="770441" y="1014010"/>
                    <a:pt x="745848" y="1002761"/>
                  </a:cubicBezTo>
                  <a:cubicBezTo>
                    <a:pt x="731412" y="996129"/>
                    <a:pt x="720668" y="985384"/>
                    <a:pt x="710344" y="974975"/>
                  </a:cubicBezTo>
                  <a:cubicBezTo>
                    <a:pt x="702622" y="967168"/>
                    <a:pt x="694564" y="959108"/>
                    <a:pt x="685247" y="953148"/>
                  </a:cubicBezTo>
                  <a:cubicBezTo>
                    <a:pt x="674839" y="946432"/>
                    <a:pt x="663927" y="940388"/>
                    <a:pt x="653435" y="934596"/>
                  </a:cubicBezTo>
                  <a:cubicBezTo>
                    <a:pt x="638076" y="926033"/>
                    <a:pt x="622296" y="917219"/>
                    <a:pt x="606935" y="906054"/>
                  </a:cubicBezTo>
                  <a:cubicBezTo>
                    <a:pt x="587043" y="891615"/>
                    <a:pt x="571683" y="863324"/>
                    <a:pt x="568661" y="835705"/>
                  </a:cubicBezTo>
                  <a:cubicBezTo>
                    <a:pt x="568409" y="833355"/>
                    <a:pt x="568157" y="831088"/>
                    <a:pt x="567821" y="828738"/>
                  </a:cubicBezTo>
                  <a:cubicBezTo>
                    <a:pt x="566479" y="817573"/>
                    <a:pt x="565052" y="806072"/>
                    <a:pt x="567234" y="794319"/>
                  </a:cubicBezTo>
                  <a:cubicBezTo>
                    <a:pt x="568745" y="786092"/>
                    <a:pt x="571767" y="778453"/>
                    <a:pt x="574621" y="770982"/>
                  </a:cubicBezTo>
                  <a:cubicBezTo>
                    <a:pt x="577223" y="764350"/>
                    <a:pt x="579657" y="758054"/>
                    <a:pt x="580916" y="751758"/>
                  </a:cubicBezTo>
                  <a:cubicBezTo>
                    <a:pt x="583937" y="737235"/>
                    <a:pt x="574201" y="727245"/>
                    <a:pt x="563793" y="716584"/>
                  </a:cubicBezTo>
                  <a:cubicBezTo>
                    <a:pt x="552965" y="705503"/>
                    <a:pt x="540710" y="692994"/>
                    <a:pt x="548432" y="675365"/>
                  </a:cubicBezTo>
                  <a:cubicBezTo>
                    <a:pt x="554056" y="662605"/>
                    <a:pt x="570424" y="651860"/>
                    <a:pt x="582343" y="643969"/>
                  </a:cubicBezTo>
                  <a:lnTo>
                    <a:pt x="585868" y="641618"/>
                  </a:lnTo>
                  <a:cubicBezTo>
                    <a:pt x="596444" y="634567"/>
                    <a:pt x="604669" y="627683"/>
                    <a:pt x="610293" y="616938"/>
                  </a:cubicBezTo>
                  <a:cubicBezTo>
                    <a:pt x="621456" y="595531"/>
                    <a:pt x="622799" y="562624"/>
                    <a:pt x="623135" y="533494"/>
                  </a:cubicBezTo>
                  <a:cubicBezTo>
                    <a:pt x="623387" y="514522"/>
                    <a:pt x="626324" y="510073"/>
                    <a:pt x="640258" y="497900"/>
                  </a:cubicBezTo>
                  <a:cubicBezTo>
                    <a:pt x="648568" y="490513"/>
                    <a:pt x="651589" y="482790"/>
                    <a:pt x="655030" y="473723"/>
                  </a:cubicBezTo>
                  <a:cubicBezTo>
                    <a:pt x="655702" y="472044"/>
                    <a:pt x="656289" y="470365"/>
                    <a:pt x="657045" y="468686"/>
                  </a:cubicBezTo>
                  <a:lnTo>
                    <a:pt x="662753" y="470953"/>
                  </a:lnTo>
                  <a:cubicBezTo>
                    <a:pt x="676854" y="443838"/>
                    <a:pt x="713533" y="410427"/>
                    <a:pt x="723941" y="400269"/>
                  </a:cubicBezTo>
                  <a:cubicBezTo>
                    <a:pt x="743414" y="381297"/>
                    <a:pt x="761208" y="360142"/>
                    <a:pt x="781269" y="342849"/>
                  </a:cubicBezTo>
                  <a:cubicBezTo>
                    <a:pt x="821558" y="308094"/>
                    <a:pt x="868813" y="297265"/>
                    <a:pt x="913803" y="270150"/>
                  </a:cubicBezTo>
                  <a:cubicBezTo>
                    <a:pt x="922028" y="265197"/>
                    <a:pt x="929330" y="258985"/>
                    <a:pt x="937640" y="253948"/>
                  </a:cubicBezTo>
                  <a:cubicBezTo>
                    <a:pt x="941753" y="251430"/>
                    <a:pt x="951909" y="250338"/>
                    <a:pt x="954511" y="245050"/>
                  </a:cubicBezTo>
                  <a:cubicBezTo>
                    <a:pt x="963660" y="225910"/>
                    <a:pt x="940997" y="225574"/>
                    <a:pt x="929498" y="225070"/>
                  </a:cubicBezTo>
                  <a:cubicBezTo>
                    <a:pt x="923371" y="224818"/>
                    <a:pt x="915985" y="223979"/>
                    <a:pt x="910025" y="222552"/>
                  </a:cubicBezTo>
                  <a:cubicBezTo>
                    <a:pt x="902135" y="220621"/>
                    <a:pt x="896260" y="213318"/>
                    <a:pt x="889042" y="211219"/>
                  </a:cubicBezTo>
                  <a:cubicBezTo>
                    <a:pt x="876871" y="207777"/>
                    <a:pt x="858825" y="212478"/>
                    <a:pt x="846990" y="214577"/>
                  </a:cubicBezTo>
                  <a:cubicBezTo>
                    <a:pt x="835575" y="216592"/>
                    <a:pt x="821138" y="219698"/>
                    <a:pt x="810730" y="214577"/>
                  </a:cubicBezTo>
                  <a:cubicBezTo>
                    <a:pt x="795538" y="207105"/>
                    <a:pt x="796965" y="192834"/>
                    <a:pt x="777072" y="200306"/>
                  </a:cubicBezTo>
                  <a:cubicBezTo>
                    <a:pt x="754913" y="208533"/>
                    <a:pt x="744421" y="240852"/>
                    <a:pt x="717646" y="237578"/>
                  </a:cubicBezTo>
                  <a:cubicBezTo>
                    <a:pt x="687765" y="233885"/>
                    <a:pt x="676770" y="211387"/>
                    <a:pt x="652848" y="198207"/>
                  </a:cubicBezTo>
                  <a:cubicBezTo>
                    <a:pt x="630018" y="185699"/>
                    <a:pt x="613818" y="205510"/>
                    <a:pt x="589729" y="195521"/>
                  </a:cubicBezTo>
                  <a:cubicBezTo>
                    <a:pt x="563205" y="184524"/>
                    <a:pt x="549272" y="149517"/>
                    <a:pt x="522329" y="142885"/>
                  </a:cubicBezTo>
                  <a:cubicBezTo>
                    <a:pt x="497064" y="136673"/>
                    <a:pt x="479857" y="156485"/>
                    <a:pt x="457866" y="162445"/>
                  </a:cubicBezTo>
                  <a:cubicBezTo>
                    <a:pt x="431931" y="169497"/>
                    <a:pt x="421774" y="152204"/>
                    <a:pt x="397181" y="138604"/>
                  </a:cubicBezTo>
                  <a:cubicBezTo>
                    <a:pt x="376617" y="127271"/>
                    <a:pt x="351521" y="124753"/>
                    <a:pt x="328690" y="115686"/>
                  </a:cubicBezTo>
                  <a:cubicBezTo>
                    <a:pt x="273629" y="93860"/>
                    <a:pt x="330789" y="29220"/>
                    <a:pt x="287562" y="5715"/>
                  </a:cubicBezTo>
                  <a:cubicBezTo>
                    <a:pt x="251722" y="-13761"/>
                    <a:pt x="246182" y="20826"/>
                    <a:pt x="245342" y="45254"/>
                  </a:cubicBezTo>
                  <a:cubicBezTo>
                    <a:pt x="244923" y="58518"/>
                    <a:pt x="243496" y="65570"/>
                    <a:pt x="231409" y="70187"/>
                  </a:cubicBezTo>
                  <a:cubicBezTo>
                    <a:pt x="221169" y="74048"/>
                    <a:pt x="208915" y="75308"/>
                    <a:pt x="197919" y="75811"/>
                  </a:cubicBezTo>
                  <a:cubicBezTo>
                    <a:pt x="145879" y="78330"/>
                    <a:pt x="78983" y="79001"/>
                    <a:pt x="0" y="78078"/>
                  </a:cubicBezTo>
                  <a:cubicBezTo>
                    <a:pt x="8477" y="100072"/>
                    <a:pt x="6799" y="122234"/>
                    <a:pt x="4784" y="14565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B67374F-A4F0-483F-8F37-A2967EC9FC7F}"/>
                </a:ext>
              </a:extLst>
            </p:cNvPr>
            <p:cNvSpPr/>
            <p:nvPr/>
          </p:nvSpPr>
          <p:spPr>
            <a:xfrm>
              <a:off x="7436992" y="2229475"/>
              <a:ext cx="878055" cy="555269"/>
            </a:xfrm>
            <a:custGeom>
              <a:avLst/>
              <a:gdLst>
                <a:gd name="connsiteX0" fmla="*/ 967018 w 972109"/>
                <a:gd name="connsiteY0" fmla="*/ 614665 h 614748"/>
                <a:gd name="connsiteX1" fmla="*/ 953924 w 972109"/>
                <a:gd name="connsiteY1" fmla="*/ 520559 h 614748"/>
                <a:gd name="connsiteX2" fmla="*/ 950986 w 972109"/>
                <a:gd name="connsiteY2" fmla="*/ 513424 h 614748"/>
                <a:gd name="connsiteX3" fmla="*/ 932184 w 972109"/>
                <a:gd name="connsiteY3" fmla="*/ 398332 h 614748"/>
                <a:gd name="connsiteX4" fmla="*/ 934283 w 972109"/>
                <a:gd name="connsiteY4" fmla="*/ 373735 h 614748"/>
                <a:gd name="connsiteX5" fmla="*/ 936381 w 972109"/>
                <a:gd name="connsiteY5" fmla="*/ 333608 h 614748"/>
                <a:gd name="connsiteX6" fmla="*/ 923791 w 972109"/>
                <a:gd name="connsiteY6" fmla="*/ 285590 h 614748"/>
                <a:gd name="connsiteX7" fmla="*/ 919846 w 972109"/>
                <a:gd name="connsiteY7" fmla="*/ 275768 h 614748"/>
                <a:gd name="connsiteX8" fmla="*/ 914222 w 972109"/>
                <a:gd name="connsiteY8" fmla="*/ 262504 h 614748"/>
                <a:gd name="connsiteX9" fmla="*/ 900709 w 972109"/>
                <a:gd name="connsiteY9" fmla="*/ 216081 h 614748"/>
                <a:gd name="connsiteX10" fmla="*/ 899953 w 972109"/>
                <a:gd name="connsiteY10" fmla="*/ 195262 h 614748"/>
                <a:gd name="connsiteX11" fmla="*/ 898191 w 972109"/>
                <a:gd name="connsiteY11" fmla="*/ 159752 h 614748"/>
                <a:gd name="connsiteX12" fmla="*/ 899282 w 972109"/>
                <a:gd name="connsiteY12" fmla="*/ 113749 h 614748"/>
                <a:gd name="connsiteX13" fmla="*/ 893826 w 972109"/>
                <a:gd name="connsiteY13" fmla="*/ 46759 h 614748"/>
                <a:gd name="connsiteX14" fmla="*/ 44318 w 972109"/>
                <a:gd name="connsiteY14" fmla="*/ 0 h 614748"/>
                <a:gd name="connsiteX15" fmla="*/ 0 w 972109"/>
                <a:gd name="connsiteY15" fmla="*/ 567234 h 614748"/>
                <a:gd name="connsiteX16" fmla="*/ 967018 w 972109"/>
                <a:gd name="connsiteY16" fmla="*/ 614749 h 614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2109" h="614748">
                  <a:moveTo>
                    <a:pt x="967018" y="614665"/>
                  </a:moveTo>
                  <a:cubicBezTo>
                    <a:pt x="979356" y="581337"/>
                    <a:pt x="967018" y="551788"/>
                    <a:pt x="953924" y="520559"/>
                  </a:cubicBezTo>
                  <a:lnTo>
                    <a:pt x="950986" y="513424"/>
                  </a:lnTo>
                  <a:cubicBezTo>
                    <a:pt x="937137" y="480013"/>
                    <a:pt x="930254" y="438039"/>
                    <a:pt x="932184" y="398332"/>
                  </a:cubicBezTo>
                  <a:cubicBezTo>
                    <a:pt x="932604" y="390021"/>
                    <a:pt x="933444" y="381710"/>
                    <a:pt x="934283" y="373735"/>
                  </a:cubicBezTo>
                  <a:cubicBezTo>
                    <a:pt x="935626" y="360723"/>
                    <a:pt x="936969" y="347207"/>
                    <a:pt x="936381" y="333608"/>
                  </a:cubicBezTo>
                  <a:cubicBezTo>
                    <a:pt x="935542" y="314216"/>
                    <a:pt x="930590" y="302212"/>
                    <a:pt x="923791" y="285590"/>
                  </a:cubicBezTo>
                  <a:cubicBezTo>
                    <a:pt x="922532" y="282484"/>
                    <a:pt x="921189" y="279210"/>
                    <a:pt x="919846" y="275768"/>
                  </a:cubicBezTo>
                  <a:cubicBezTo>
                    <a:pt x="918083" y="271235"/>
                    <a:pt x="916153" y="266786"/>
                    <a:pt x="914222" y="262504"/>
                  </a:cubicBezTo>
                  <a:cubicBezTo>
                    <a:pt x="907759" y="247646"/>
                    <a:pt x="901632" y="233542"/>
                    <a:pt x="900709" y="216081"/>
                  </a:cubicBezTo>
                  <a:cubicBezTo>
                    <a:pt x="900373" y="209114"/>
                    <a:pt x="900121" y="202146"/>
                    <a:pt x="899953" y="195262"/>
                  </a:cubicBezTo>
                  <a:cubicBezTo>
                    <a:pt x="899618" y="183090"/>
                    <a:pt x="899282" y="171589"/>
                    <a:pt x="898191" y="159752"/>
                  </a:cubicBezTo>
                  <a:cubicBezTo>
                    <a:pt x="896764" y="143970"/>
                    <a:pt x="898023" y="128608"/>
                    <a:pt x="899282" y="113749"/>
                  </a:cubicBezTo>
                  <a:cubicBezTo>
                    <a:pt x="901296" y="90244"/>
                    <a:pt x="903143" y="67998"/>
                    <a:pt x="893826" y="46759"/>
                  </a:cubicBezTo>
                  <a:cubicBezTo>
                    <a:pt x="679540" y="43737"/>
                    <a:pt x="378968" y="28206"/>
                    <a:pt x="44318" y="0"/>
                  </a:cubicBezTo>
                  <a:lnTo>
                    <a:pt x="0" y="567234"/>
                  </a:lnTo>
                  <a:cubicBezTo>
                    <a:pt x="37351" y="570760"/>
                    <a:pt x="332216" y="597288"/>
                    <a:pt x="967018" y="61474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AF749BCD-6F7B-1C44-5D9D-2276CA0627B8}"/>
                </a:ext>
              </a:extLst>
            </p:cNvPr>
            <p:cNvSpPr/>
            <p:nvPr/>
          </p:nvSpPr>
          <p:spPr>
            <a:xfrm>
              <a:off x="4886373" y="2252678"/>
              <a:ext cx="1080116" cy="919686"/>
            </a:xfrm>
            <a:custGeom>
              <a:avLst/>
              <a:gdLst>
                <a:gd name="connsiteX0" fmla="*/ 984812 w 1195814"/>
                <a:gd name="connsiteY0" fmla="*/ 964307 h 1018200"/>
                <a:gd name="connsiteX1" fmla="*/ 995136 w 1195814"/>
                <a:gd name="connsiteY1" fmla="*/ 916960 h 1018200"/>
                <a:gd name="connsiteX2" fmla="*/ 1051708 w 1195814"/>
                <a:gd name="connsiteY2" fmla="*/ 690553 h 1018200"/>
                <a:gd name="connsiteX3" fmla="*/ 1056325 w 1195814"/>
                <a:gd name="connsiteY3" fmla="*/ 675359 h 1018200"/>
                <a:gd name="connsiteX4" fmla="*/ 1067488 w 1195814"/>
                <a:gd name="connsiteY4" fmla="*/ 642871 h 1018200"/>
                <a:gd name="connsiteX5" fmla="*/ 1072272 w 1195814"/>
                <a:gd name="connsiteY5" fmla="*/ 634057 h 1018200"/>
                <a:gd name="connsiteX6" fmla="*/ 1079239 w 1195814"/>
                <a:gd name="connsiteY6" fmla="*/ 603919 h 1018200"/>
                <a:gd name="connsiteX7" fmla="*/ 1065054 w 1195814"/>
                <a:gd name="connsiteY7" fmla="*/ 592419 h 1018200"/>
                <a:gd name="connsiteX8" fmla="*/ 1050449 w 1195814"/>
                <a:gd name="connsiteY8" fmla="*/ 582681 h 1018200"/>
                <a:gd name="connsiteX9" fmla="*/ 1055233 w 1195814"/>
                <a:gd name="connsiteY9" fmla="*/ 543225 h 1018200"/>
                <a:gd name="connsiteX10" fmla="*/ 1056241 w 1195814"/>
                <a:gd name="connsiteY10" fmla="*/ 541462 h 1018200"/>
                <a:gd name="connsiteX11" fmla="*/ 1088891 w 1195814"/>
                <a:gd name="connsiteY11" fmla="*/ 501419 h 1018200"/>
                <a:gd name="connsiteX12" fmla="*/ 1109120 w 1195814"/>
                <a:gd name="connsiteY12" fmla="*/ 478753 h 1018200"/>
                <a:gd name="connsiteX13" fmla="*/ 1143953 w 1195814"/>
                <a:gd name="connsiteY13" fmla="*/ 429056 h 1018200"/>
                <a:gd name="connsiteX14" fmla="*/ 1165273 w 1195814"/>
                <a:gd name="connsiteY14" fmla="*/ 397324 h 1018200"/>
                <a:gd name="connsiteX15" fmla="*/ 1178366 w 1195814"/>
                <a:gd name="connsiteY15" fmla="*/ 381626 h 1018200"/>
                <a:gd name="connsiteX16" fmla="*/ 1189949 w 1195814"/>
                <a:gd name="connsiteY16" fmla="*/ 334699 h 1018200"/>
                <a:gd name="connsiteX17" fmla="*/ 1169721 w 1195814"/>
                <a:gd name="connsiteY17" fmla="*/ 314888 h 1018200"/>
                <a:gd name="connsiteX18" fmla="*/ 1155032 w 1195814"/>
                <a:gd name="connsiteY18" fmla="*/ 302212 h 1018200"/>
                <a:gd name="connsiteX19" fmla="*/ 1148234 w 1195814"/>
                <a:gd name="connsiteY19" fmla="*/ 292474 h 1018200"/>
                <a:gd name="connsiteX20" fmla="*/ 1143030 w 1195814"/>
                <a:gd name="connsiteY20" fmla="*/ 284834 h 1018200"/>
                <a:gd name="connsiteX21" fmla="*/ 1129180 w 1195814"/>
                <a:gd name="connsiteY21" fmla="*/ 279881 h 1018200"/>
                <a:gd name="connsiteX22" fmla="*/ 1124312 w 1195814"/>
                <a:gd name="connsiteY22" fmla="*/ 279462 h 1018200"/>
                <a:gd name="connsiteX23" fmla="*/ 1055066 w 1195814"/>
                <a:gd name="connsiteY23" fmla="*/ 266366 h 1018200"/>
                <a:gd name="connsiteX24" fmla="*/ 1001683 w 1195814"/>
                <a:gd name="connsiteY24" fmla="*/ 255285 h 1018200"/>
                <a:gd name="connsiteX25" fmla="*/ 943096 w 1195814"/>
                <a:gd name="connsiteY25" fmla="*/ 239587 h 1018200"/>
                <a:gd name="connsiteX26" fmla="*/ 906920 w 1195814"/>
                <a:gd name="connsiteY26" fmla="*/ 231276 h 1018200"/>
                <a:gd name="connsiteX27" fmla="*/ 891056 w 1195814"/>
                <a:gd name="connsiteY27" fmla="*/ 228925 h 1018200"/>
                <a:gd name="connsiteX28" fmla="*/ 817613 w 1195814"/>
                <a:gd name="connsiteY28" fmla="*/ 221706 h 1018200"/>
                <a:gd name="connsiteX29" fmla="*/ 802337 w 1195814"/>
                <a:gd name="connsiteY29" fmla="*/ 221034 h 1018200"/>
                <a:gd name="connsiteX30" fmla="*/ 772540 w 1195814"/>
                <a:gd name="connsiteY30" fmla="*/ 221538 h 1018200"/>
                <a:gd name="connsiteX31" fmla="*/ 759194 w 1195814"/>
                <a:gd name="connsiteY31" fmla="*/ 224896 h 1018200"/>
                <a:gd name="connsiteX32" fmla="*/ 728054 w 1195814"/>
                <a:gd name="connsiteY32" fmla="*/ 230100 h 1018200"/>
                <a:gd name="connsiteX33" fmla="*/ 684156 w 1195814"/>
                <a:gd name="connsiteY33" fmla="*/ 227330 h 1018200"/>
                <a:gd name="connsiteX34" fmla="*/ 639586 w 1195814"/>
                <a:gd name="connsiteY34" fmla="*/ 224560 h 1018200"/>
                <a:gd name="connsiteX35" fmla="*/ 639335 w 1195814"/>
                <a:gd name="connsiteY35" fmla="*/ 224560 h 1018200"/>
                <a:gd name="connsiteX36" fmla="*/ 592834 w 1195814"/>
                <a:gd name="connsiteY36" fmla="*/ 212639 h 1018200"/>
                <a:gd name="connsiteX37" fmla="*/ 578314 w 1195814"/>
                <a:gd name="connsiteY37" fmla="*/ 198704 h 1018200"/>
                <a:gd name="connsiteX38" fmla="*/ 565472 w 1195814"/>
                <a:gd name="connsiteY38" fmla="*/ 186112 h 1018200"/>
                <a:gd name="connsiteX39" fmla="*/ 509906 w 1195814"/>
                <a:gd name="connsiteY39" fmla="*/ 189302 h 1018200"/>
                <a:gd name="connsiteX40" fmla="*/ 474570 w 1195814"/>
                <a:gd name="connsiteY40" fmla="*/ 198032 h 1018200"/>
                <a:gd name="connsiteX41" fmla="*/ 466932 w 1195814"/>
                <a:gd name="connsiteY41" fmla="*/ 198620 h 1018200"/>
                <a:gd name="connsiteX42" fmla="*/ 425300 w 1195814"/>
                <a:gd name="connsiteY42" fmla="*/ 195766 h 1018200"/>
                <a:gd name="connsiteX43" fmla="*/ 399196 w 1195814"/>
                <a:gd name="connsiteY43" fmla="*/ 154296 h 1018200"/>
                <a:gd name="connsiteX44" fmla="*/ 401546 w 1195814"/>
                <a:gd name="connsiteY44" fmla="*/ 115680 h 1018200"/>
                <a:gd name="connsiteX45" fmla="*/ 400203 w 1195814"/>
                <a:gd name="connsiteY45" fmla="*/ 74210 h 1018200"/>
                <a:gd name="connsiteX46" fmla="*/ 393488 w 1195814"/>
                <a:gd name="connsiteY46" fmla="*/ 65983 h 1018200"/>
                <a:gd name="connsiteX47" fmla="*/ 387445 w 1195814"/>
                <a:gd name="connsiteY47" fmla="*/ 58931 h 1018200"/>
                <a:gd name="connsiteX48" fmla="*/ 382745 w 1195814"/>
                <a:gd name="connsiteY48" fmla="*/ 49865 h 1018200"/>
                <a:gd name="connsiteX49" fmla="*/ 378044 w 1195814"/>
                <a:gd name="connsiteY49" fmla="*/ 41050 h 1018200"/>
                <a:gd name="connsiteX50" fmla="*/ 354542 w 1195814"/>
                <a:gd name="connsiteY50" fmla="*/ 30473 h 1018200"/>
                <a:gd name="connsiteX51" fmla="*/ 337252 w 1195814"/>
                <a:gd name="connsiteY51" fmla="*/ 24513 h 1018200"/>
                <a:gd name="connsiteX52" fmla="*/ 311232 w 1195814"/>
                <a:gd name="connsiteY52" fmla="*/ 17041 h 1018200"/>
                <a:gd name="connsiteX53" fmla="*/ 292934 w 1195814"/>
                <a:gd name="connsiteY53" fmla="*/ 12592 h 1018200"/>
                <a:gd name="connsiteX54" fmla="*/ 276315 w 1195814"/>
                <a:gd name="connsiteY54" fmla="*/ 7052 h 1018200"/>
                <a:gd name="connsiteX55" fmla="*/ 255163 w 1195814"/>
                <a:gd name="connsiteY55" fmla="*/ 0 h 1018200"/>
                <a:gd name="connsiteX56" fmla="*/ 259276 w 1195814"/>
                <a:gd name="connsiteY56" fmla="*/ 38532 h 1018200"/>
                <a:gd name="connsiteX57" fmla="*/ 240055 w 1195814"/>
                <a:gd name="connsiteY57" fmla="*/ 121220 h 1018200"/>
                <a:gd name="connsiteX58" fmla="*/ 213195 w 1195814"/>
                <a:gd name="connsiteY58" fmla="*/ 209282 h 1018200"/>
                <a:gd name="connsiteX59" fmla="*/ 173914 w 1195814"/>
                <a:gd name="connsiteY59" fmla="*/ 295664 h 1018200"/>
                <a:gd name="connsiteX60" fmla="*/ 135807 w 1195814"/>
                <a:gd name="connsiteY60" fmla="*/ 392455 h 1018200"/>
                <a:gd name="connsiteX61" fmla="*/ 88971 w 1195814"/>
                <a:gd name="connsiteY61" fmla="*/ 470611 h 1018200"/>
                <a:gd name="connsiteX62" fmla="*/ 13765 w 1195814"/>
                <a:gd name="connsiteY62" fmla="*/ 602156 h 1018200"/>
                <a:gd name="connsiteX63" fmla="*/ 20061 w 1195814"/>
                <a:gd name="connsiteY63" fmla="*/ 648496 h 1018200"/>
                <a:gd name="connsiteX64" fmla="*/ 4700 w 1195814"/>
                <a:gd name="connsiteY64" fmla="*/ 689042 h 1018200"/>
                <a:gd name="connsiteX65" fmla="*/ 504 w 1195814"/>
                <a:gd name="connsiteY65" fmla="*/ 740586 h 1018200"/>
                <a:gd name="connsiteX66" fmla="*/ 0 w 1195814"/>
                <a:gd name="connsiteY66" fmla="*/ 750324 h 1018200"/>
                <a:gd name="connsiteX67" fmla="*/ 973816 w 1195814"/>
                <a:gd name="connsiteY67" fmla="*/ 1018201 h 1018200"/>
                <a:gd name="connsiteX68" fmla="*/ 984812 w 1195814"/>
                <a:gd name="connsiteY68" fmla="*/ 964391 h 101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95814" h="1018200">
                  <a:moveTo>
                    <a:pt x="984812" y="964307"/>
                  </a:moveTo>
                  <a:cubicBezTo>
                    <a:pt x="988757" y="948860"/>
                    <a:pt x="992786" y="932994"/>
                    <a:pt x="995136" y="916960"/>
                  </a:cubicBezTo>
                  <a:cubicBezTo>
                    <a:pt x="1004620" y="851565"/>
                    <a:pt x="1022667" y="779622"/>
                    <a:pt x="1051708" y="690553"/>
                  </a:cubicBezTo>
                  <a:cubicBezTo>
                    <a:pt x="1053303" y="685684"/>
                    <a:pt x="1054814" y="680564"/>
                    <a:pt x="1056325" y="675359"/>
                  </a:cubicBezTo>
                  <a:cubicBezTo>
                    <a:pt x="1059598" y="664110"/>
                    <a:pt x="1062955" y="652525"/>
                    <a:pt x="1067488" y="642871"/>
                  </a:cubicBezTo>
                  <a:cubicBezTo>
                    <a:pt x="1068831" y="639933"/>
                    <a:pt x="1070510" y="637079"/>
                    <a:pt x="1072272" y="634057"/>
                  </a:cubicBezTo>
                  <a:cubicBezTo>
                    <a:pt x="1077980" y="624067"/>
                    <a:pt x="1083352" y="614581"/>
                    <a:pt x="1079239" y="603919"/>
                  </a:cubicBezTo>
                  <a:cubicBezTo>
                    <a:pt x="1076889" y="597875"/>
                    <a:pt x="1071433" y="595357"/>
                    <a:pt x="1065054" y="592419"/>
                  </a:cubicBezTo>
                  <a:cubicBezTo>
                    <a:pt x="1059766" y="589984"/>
                    <a:pt x="1054394" y="587466"/>
                    <a:pt x="1050449" y="582681"/>
                  </a:cubicBezTo>
                  <a:cubicBezTo>
                    <a:pt x="1039789" y="569501"/>
                    <a:pt x="1048687" y="554306"/>
                    <a:pt x="1055233" y="543225"/>
                  </a:cubicBezTo>
                  <a:lnTo>
                    <a:pt x="1056241" y="541462"/>
                  </a:lnTo>
                  <a:cubicBezTo>
                    <a:pt x="1064550" y="527275"/>
                    <a:pt x="1076889" y="514095"/>
                    <a:pt x="1088891" y="501419"/>
                  </a:cubicBezTo>
                  <a:cubicBezTo>
                    <a:pt x="1096194" y="493612"/>
                    <a:pt x="1103076" y="486309"/>
                    <a:pt x="1109120" y="478753"/>
                  </a:cubicBezTo>
                  <a:cubicBezTo>
                    <a:pt x="1121962" y="462636"/>
                    <a:pt x="1133125" y="445594"/>
                    <a:pt x="1143953" y="429056"/>
                  </a:cubicBezTo>
                  <a:cubicBezTo>
                    <a:pt x="1150752" y="418647"/>
                    <a:pt x="1157802" y="407902"/>
                    <a:pt x="1165273" y="397324"/>
                  </a:cubicBezTo>
                  <a:cubicBezTo>
                    <a:pt x="1169301" y="391616"/>
                    <a:pt x="1173918" y="386579"/>
                    <a:pt x="1178366" y="381626"/>
                  </a:cubicBezTo>
                  <a:cubicBezTo>
                    <a:pt x="1192551" y="366012"/>
                    <a:pt x="1202792" y="354679"/>
                    <a:pt x="1189949" y="334699"/>
                  </a:cubicBezTo>
                  <a:cubicBezTo>
                    <a:pt x="1184913" y="326808"/>
                    <a:pt x="1177527" y="321016"/>
                    <a:pt x="1169721" y="314888"/>
                  </a:cubicBezTo>
                  <a:cubicBezTo>
                    <a:pt x="1164685" y="310942"/>
                    <a:pt x="1159565" y="306913"/>
                    <a:pt x="1155032" y="302212"/>
                  </a:cubicBezTo>
                  <a:cubicBezTo>
                    <a:pt x="1152263" y="299357"/>
                    <a:pt x="1150248" y="295832"/>
                    <a:pt x="1148234" y="292474"/>
                  </a:cubicBezTo>
                  <a:cubicBezTo>
                    <a:pt x="1146471" y="289451"/>
                    <a:pt x="1144792" y="286597"/>
                    <a:pt x="1143030" y="284834"/>
                  </a:cubicBezTo>
                  <a:cubicBezTo>
                    <a:pt x="1138581" y="280553"/>
                    <a:pt x="1136231" y="280385"/>
                    <a:pt x="1129180" y="279881"/>
                  </a:cubicBezTo>
                  <a:cubicBezTo>
                    <a:pt x="1127753" y="279798"/>
                    <a:pt x="1126159" y="279630"/>
                    <a:pt x="1124312" y="279462"/>
                  </a:cubicBezTo>
                  <a:cubicBezTo>
                    <a:pt x="1100726" y="277279"/>
                    <a:pt x="1077560" y="271739"/>
                    <a:pt x="1055066" y="266366"/>
                  </a:cubicBezTo>
                  <a:cubicBezTo>
                    <a:pt x="1037607" y="262252"/>
                    <a:pt x="1019561" y="257971"/>
                    <a:pt x="1001683" y="255285"/>
                  </a:cubicBezTo>
                  <a:cubicBezTo>
                    <a:pt x="982881" y="252515"/>
                    <a:pt x="961562" y="246806"/>
                    <a:pt x="943096" y="239587"/>
                  </a:cubicBezTo>
                  <a:cubicBezTo>
                    <a:pt x="929834" y="234466"/>
                    <a:pt x="919174" y="232955"/>
                    <a:pt x="906920" y="231276"/>
                  </a:cubicBezTo>
                  <a:cubicBezTo>
                    <a:pt x="901968" y="230604"/>
                    <a:pt x="896764" y="229849"/>
                    <a:pt x="891056" y="228925"/>
                  </a:cubicBezTo>
                  <a:cubicBezTo>
                    <a:pt x="865288" y="224476"/>
                    <a:pt x="844052" y="221706"/>
                    <a:pt x="817613" y="221706"/>
                  </a:cubicBezTo>
                  <a:cubicBezTo>
                    <a:pt x="812829" y="221706"/>
                    <a:pt x="807625" y="221370"/>
                    <a:pt x="802337" y="221034"/>
                  </a:cubicBezTo>
                  <a:cubicBezTo>
                    <a:pt x="792013" y="220363"/>
                    <a:pt x="781269" y="219691"/>
                    <a:pt x="772540" y="221538"/>
                  </a:cubicBezTo>
                  <a:cubicBezTo>
                    <a:pt x="767755" y="222545"/>
                    <a:pt x="763391" y="223721"/>
                    <a:pt x="759194" y="224896"/>
                  </a:cubicBezTo>
                  <a:cubicBezTo>
                    <a:pt x="749541" y="227582"/>
                    <a:pt x="740392" y="230100"/>
                    <a:pt x="728054" y="230100"/>
                  </a:cubicBezTo>
                  <a:cubicBezTo>
                    <a:pt x="712526" y="230100"/>
                    <a:pt x="698173" y="228673"/>
                    <a:pt x="684156" y="227330"/>
                  </a:cubicBezTo>
                  <a:cubicBezTo>
                    <a:pt x="670055" y="225903"/>
                    <a:pt x="655198" y="224392"/>
                    <a:pt x="639586" y="224560"/>
                  </a:cubicBezTo>
                  <a:lnTo>
                    <a:pt x="639335" y="224560"/>
                  </a:lnTo>
                  <a:cubicBezTo>
                    <a:pt x="621960" y="224560"/>
                    <a:pt x="608111" y="222545"/>
                    <a:pt x="592834" y="212639"/>
                  </a:cubicBezTo>
                  <a:cubicBezTo>
                    <a:pt x="586875" y="208778"/>
                    <a:pt x="582510" y="203657"/>
                    <a:pt x="578314" y="198704"/>
                  </a:cubicBezTo>
                  <a:cubicBezTo>
                    <a:pt x="574285" y="193919"/>
                    <a:pt x="570508" y="189470"/>
                    <a:pt x="565472" y="186112"/>
                  </a:cubicBezTo>
                  <a:cubicBezTo>
                    <a:pt x="549692" y="175618"/>
                    <a:pt x="530387" y="182250"/>
                    <a:pt x="509906" y="189302"/>
                  </a:cubicBezTo>
                  <a:cubicBezTo>
                    <a:pt x="498155" y="193331"/>
                    <a:pt x="485985" y="197445"/>
                    <a:pt x="474570" y="198032"/>
                  </a:cubicBezTo>
                  <a:cubicBezTo>
                    <a:pt x="472471" y="198116"/>
                    <a:pt x="469869" y="198368"/>
                    <a:pt x="466932" y="198620"/>
                  </a:cubicBezTo>
                  <a:cubicBezTo>
                    <a:pt x="453082" y="199711"/>
                    <a:pt x="434113" y="201306"/>
                    <a:pt x="425300" y="195766"/>
                  </a:cubicBezTo>
                  <a:cubicBezTo>
                    <a:pt x="417074" y="190561"/>
                    <a:pt x="401294" y="162523"/>
                    <a:pt x="399196" y="154296"/>
                  </a:cubicBezTo>
                  <a:cubicBezTo>
                    <a:pt x="395754" y="140864"/>
                    <a:pt x="398692" y="128020"/>
                    <a:pt x="401546" y="115680"/>
                  </a:cubicBezTo>
                  <a:cubicBezTo>
                    <a:pt x="404903" y="101157"/>
                    <a:pt x="408009" y="87389"/>
                    <a:pt x="400203" y="74210"/>
                  </a:cubicBezTo>
                  <a:cubicBezTo>
                    <a:pt x="398524" y="71356"/>
                    <a:pt x="396090" y="68753"/>
                    <a:pt x="393488" y="65983"/>
                  </a:cubicBezTo>
                  <a:cubicBezTo>
                    <a:pt x="391390" y="63800"/>
                    <a:pt x="389291" y="61450"/>
                    <a:pt x="387445" y="58931"/>
                  </a:cubicBezTo>
                  <a:cubicBezTo>
                    <a:pt x="385766" y="56581"/>
                    <a:pt x="384255" y="53307"/>
                    <a:pt x="382745" y="49865"/>
                  </a:cubicBezTo>
                  <a:cubicBezTo>
                    <a:pt x="381234" y="46507"/>
                    <a:pt x="379555" y="42645"/>
                    <a:pt x="378044" y="41050"/>
                  </a:cubicBezTo>
                  <a:cubicBezTo>
                    <a:pt x="373008" y="35762"/>
                    <a:pt x="364027" y="33159"/>
                    <a:pt x="354542" y="30473"/>
                  </a:cubicBezTo>
                  <a:cubicBezTo>
                    <a:pt x="348667" y="28794"/>
                    <a:pt x="342624" y="27031"/>
                    <a:pt x="337252" y="24513"/>
                  </a:cubicBezTo>
                  <a:cubicBezTo>
                    <a:pt x="329194" y="20735"/>
                    <a:pt x="320465" y="18888"/>
                    <a:pt x="311232" y="17041"/>
                  </a:cubicBezTo>
                  <a:cubicBezTo>
                    <a:pt x="305188" y="15782"/>
                    <a:pt x="298977" y="14523"/>
                    <a:pt x="292934" y="12592"/>
                  </a:cubicBezTo>
                  <a:cubicBezTo>
                    <a:pt x="288653" y="11249"/>
                    <a:pt x="282694" y="9234"/>
                    <a:pt x="276315" y="7052"/>
                  </a:cubicBezTo>
                  <a:cubicBezTo>
                    <a:pt x="269264" y="4617"/>
                    <a:pt x="261626" y="2015"/>
                    <a:pt x="255163" y="0"/>
                  </a:cubicBezTo>
                  <a:cubicBezTo>
                    <a:pt x="255331" y="12340"/>
                    <a:pt x="258520" y="25436"/>
                    <a:pt x="259276" y="38532"/>
                  </a:cubicBezTo>
                  <a:cubicBezTo>
                    <a:pt x="260787" y="65143"/>
                    <a:pt x="250463" y="97211"/>
                    <a:pt x="240055" y="121220"/>
                  </a:cubicBezTo>
                  <a:cubicBezTo>
                    <a:pt x="227716" y="149595"/>
                    <a:pt x="220246" y="180152"/>
                    <a:pt x="213195" y="209282"/>
                  </a:cubicBezTo>
                  <a:cubicBezTo>
                    <a:pt x="205473" y="240930"/>
                    <a:pt x="185665" y="265694"/>
                    <a:pt x="173914" y="295664"/>
                  </a:cubicBezTo>
                  <a:cubicBezTo>
                    <a:pt x="160904" y="328823"/>
                    <a:pt x="155952" y="363493"/>
                    <a:pt x="135807" y="392455"/>
                  </a:cubicBezTo>
                  <a:cubicBezTo>
                    <a:pt x="118265" y="417640"/>
                    <a:pt x="101981" y="442572"/>
                    <a:pt x="88971" y="470611"/>
                  </a:cubicBezTo>
                  <a:cubicBezTo>
                    <a:pt x="67232" y="517621"/>
                    <a:pt x="33826" y="554642"/>
                    <a:pt x="13765" y="602156"/>
                  </a:cubicBezTo>
                  <a:cubicBezTo>
                    <a:pt x="5540" y="621632"/>
                    <a:pt x="19809" y="628516"/>
                    <a:pt x="20061" y="648496"/>
                  </a:cubicBezTo>
                  <a:cubicBezTo>
                    <a:pt x="20228" y="665201"/>
                    <a:pt x="8981" y="674519"/>
                    <a:pt x="4700" y="689042"/>
                  </a:cubicBezTo>
                  <a:cubicBezTo>
                    <a:pt x="-84" y="705160"/>
                    <a:pt x="504" y="723293"/>
                    <a:pt x="504" y="740586"/>
                  </a:cubicBezTo>
                  <a:cubicBezTo>
                    <a:pt x="504" y="743944"/>
                    <a:pt x="252" y="747134"/>
                    <a:pt x="0" y="750324"/>
                  </a:cubicBezTo>
                  <a:cubicBezTo>
                    <a:pt x="58503" y="770807"/>
                    <a:pt x="430923" y="897988"/>
                    <a:pt x="973816" y="1018201"/>
                  </a:cubicBezTo>
                  <a:cubicBezTo>
                    <a:pt x="975915" y="999900"/>
                    <a:pt x="980363" y="981852"/>
                    <a:pt x="984812" y="964391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7586525A-4FF9-90E2-8DC6-D4D518A12FBD}"/>
                </a:ext>
              </a:extLst>
            </p:cNvPr>
            <p:cNvSpPr/>
            <p:nvPr/>
          </p:nvSpPr>
          <p:spPr>
            <a:xfrm>
              <a:off x="8753302" y="2492199"/>
              <a:ext cx="1092942" cy="855854"/>
            </a:xfrm>
            <a:custGeom>
              <a:avLst/>
              <a:gdLst>
                <a:gd name="connsiteX0" fmla="*/ 91296 w 1210014"/>
                <a:gd name="connsiteY0" fmla="*/ 182264 h 947530"/>
                <a:gd name="connsiteX1" fmla="*/ 77027 w 1210014"/>
                <a:gd name="connsiteY1" fmla="*/ 211645 h 947530"/>
                <a:gd name="connsiteX2" fmla="*/ 63262 w 1210014"/>
                <a:gd name="connsiteY2" fmla="*/ 298867 h 947530"/>
                <a:gd name="connsiteX3" fmla="*/ 36066 w 1210014"/>
                <a:gd name="connsiteY3" fmla="*/ 326654 h 947530"/>
                <a:gd name="connsiteX4" fmla="*/ 32541 w 1210014"/>
                <a:gd name="connsiteY4" fmla="*/ 329004 h 947530"/>
                <a:gd name="connsiteX5" fmla="*/ 1737 w 1210014"/>
                <a:gd name="connsiteY5" fmla="*/ 356707 h 947530"/>
                <a:gd name="connsiteX6" fmla="*/ 15418 w 1210014"/>
                <a:gd name="connsiteY6" fmla="*/ 388691 h 947530"/>
                <a:gd name="connsiteX7" fmla="*/ 34723 w 1210014"/>
                <a:gd name="connsiteY7" fmla="*/ 431420 h 947530"/>
                <a:gd name="connsiteX8" fmla="*/ 28009 w 1210014"/>
                <a:gd name="connsiteY8" fmla="*/ 451987 h 947530"/>
                <a:gd name="connsiteX9" fmla="*/ 21042 w 1210014"/>
                <a:gd name="connsiteY9" fmla="*/ 473814 h 947530"/>
                <a:gd name="connsiteX10" fmla="*/ 21714 w 1210014"/>
                <a:gd name="connsiteY10" fmla="*/ 505630 h 947530"/>
                <a:gd name="connsiteX11" fmla="*/ 22553 w 1210014"/>
                <a:gd name="connsiteY11" fmla="*/ 512682 h 947530"/>
                <a:gd name="connsiteX12" fmla="*/ 57386 w 1210014"/>
                <a:gd name="connsiteY12" fmla="*/ 577153 h 947530"/>
                <a:gd name="connsiteX13" fmla="*/ 103047 w 1210014"/>
                <a:gd name="connsiteY13" fmla="*/ 605192 h 947530"/>
                <a:gd name="connsiteX14" fmla="*/ 135278 w 1210014"/>
                <a:gd name="connsiteY14" fmla="*/ 623996 h 947530"/>
                <a:gd name="connsiteX15" fmla="*/ 161801 w 1210014"/>
                <a:gd name="connsiteY15" fmla="*/ 646998 h 947530"/>
                <a:gd name="connsiteX16" fmla="*/ 194872 w 1210014"/>
                <a:gd name="connsiteY16" fmla="*/ 673106 h 947530"/>
                <a:gd name="connsiteX17" fmla="*/ 236503 w 1210014"/>
                <a:gd name="connsiteY17" fmla="*/ 736906 h 947530"/>
                <a:gd name="connsiteX18" fmla="*/ 237595 w 1210014"/>
                <a:gd name="connsiteY18" fmla="*/ 748826 h 947530"/>
                <a:gd name="connsiteX19" fmla="*/ 240617 w 1210014"/>
                <a:gd name="connsiteY19" fmla="*/ 775941 h 947530"/>
                <a:gd name="connsiteX20" fmla="*/ 249262 w 1210014"/>
                <a:gd name="connsiteY20" fmla="*/ 793151 h 947530"/>
                <a:gd name="connsiteX21" fmla="*/ 258831 w 1210014"/>
                <a:gd name="connsiteY21" fmla="*/ 812123 h 947530"/>
                <a:gd name="connsiteX22" fmla="*/ 253627 w 1210014"/>
                <a:gd name="connsiteY22" fmla="*/ 838482 h 947530"/>
                <a:gd name="connsiteX23" fmla="*/ 249010 w 1210014"/>
                <a:gd name="connsiteY23" fmla="*/ 851578 h 947530"/>
                <a:gd name="connsiteX24" fmla="*/ 258159 w 1210014"/>
                <a:gd name="connsiteY24" fmla="*/ 884570 h 947530"/>
                <a:gd name="connsiteX25" fmla="*/ 260677 w 1210014"/>
                <a:gd name="connsiteY25" fmla="*/ 889355 h 947530"/>
                <a:gd name="connsiteX26" fmla="*/ 296098 w 1210014"/>
                <a:gd name="connsiteY26" fmla="*/ 923102 h 947530"/>
                <a:gd name="connsiteX27" fmla="*/ 318089 w 1210014"/>
                <a:gd name="connsiteY27" fmla="*/ 938212 h 947530"/>
                <a:gd name="connsiteX28" fmla="*/ 326230 w 1210014"/>
                <a:gd name="connsiteY28" fmla="*/ 947530 h 947530"/>
                <a:gd name="connsiteX29" fmla="*/ 720558 w 1210014"/>
                <a:gd name="connsiteY29" fmla="*/ 926292 h 947530"/>
                <a:gd name="connsiteX30" fmla="*/ 719131 w 1210014"/>
                <a:gd name="connsiteY30" fmla="*/ 895735 h 947530"/>
                <a:gd name="connsiteX31" fmla="*/ 713675 w 1210014"/>
                <a:gd name="connsiteY31" fmla="*/ 859050 h 947530"/>
                <a:gd name="connsiteX32" fmla="*/ 707716 w 1210014"/>
                <a:gd name="connsiteY32" fmla="*/ 820182 h 947530"/>
                <a:gd name="connsiteX33" fmla="*/ 696301 w 1210014"/>
                <a:gd name="connsiteY33" fmla="*/ 786771 h 947530"/>
                <a:gd name="connsiteX34" fmla="*/ 700246 w 1210014"/>
                <a:gd name="connsiteY34" fmla="*/ 704502 h 947530"/>
                <a:gd name="connsiteX35" fmla="*/ 715018 w 1210014"/>
                <a:gd name="connsiteY35" fmla="*/ 638687 h 947530"/>
                <a:gd name="connsiteX36" fmla="*/ 717536 w 1210014"/>
                <a:gd name="connsiteY36" fmla="*/ 607458 h 947530"/>
                <a:gd name="connsiteX37" fmla="*/ 721817 w 1210014"/>
                <a:gd name="connsiteY37" fmla="*/ 573628 h 947530"/>
                <a:gd name="connsiteX38" fmla="*/ 746830 w 1210014"/>
                <a:gd name="connsiteY38" fmla="*/ 488337 h 947530"/>
                <a:gd name="connsiteX39" fmla="*/ 766890 w 1210014"/>
                <a:gd name="connsiteY39" fmla="*/ 449133 h 947530"/>
                <a:gd name="connsiteX40" fmla="*/ 786447 w 1210014"/>
                <a:gd name="connsiteY40" fmla="*/ 411273 h 947530"/>
                <a:gd name="connsiteX41" fmla="*/ 761099 w 1210014"/>
                <a:gd name="connsiteY41" fmla="*/ 399100 h 947530"/>
                <a:gd name="connsiteX42" fmla="*/ 738520 w 1210014"/>
                <a:gd name="connsiteY42" fmla="*/ 436289 h 947530"/>
                <a:gd name="connsiteX43" fmla="*/ 714683 w 1210014"/>
                <a:gd name="connsiteY43" fmla="*/ 471547 h 947530"/>
                <a:gd name="connsiteX44" fmla="*/ 690593 w 1210014"/>
                <a:gd name="connsiteY44" fmla="*/ 512094 h 947530"/>
                <a:gd name="connsiteX45" fmla="*/ 661552 w 1210014"/>
                <a:gd name="connsiteY45" fmla="*/ 522168 h 947530"/>
                <a:gd name="connsiteX46" fmla="*/ 667427 w 1210014"/>
                <a:gd name="connsiteY46" fmla="*/ 485147 h 947530"/>
                <a:gd name="connsiteX47" fmla="*/ 714011 w 1210014"/>
                <a:gd name="connsiteY47" fmla="*/ 405984 h 947530"/>
                <a:gd name="connsiteX48" fmla="*/ 751027 w 1210014"/>
                <a:gd name="connsiteY48" fmla="*/ 321533 h 947530"/>
                <a:gd name="connsiteX49" fmla="*/ 783929 w 1210014"/>
                <a:gd name="connsiteY49" fmla="*/ 305079 h 947530"/>
                <a:gd name="connsiteX50" fmla="*/ 809949 w 1210014"/>
                <a:gd name="connsiteY50" fmla="*/ 284260 h 947530"/>
                <a:gd name="connsiteX51" fmla="*/ 814482 w 1210014"/>
                <a:gd name="connsiteY51" fmla="*/ 297692 h 947530"/>
                <a:gd name="connsiteX52" fmla="*/ 822791 w 1210014"/>
                <a:gd name="connsiteY52" fmla="*/ 309276 h 947530"/>
                <a:gd name="connsiteX53" fmla="*/ 841761 w 1210014"/>
                <a:gd name="connsiteY53" fmla="*/ 299371 h 947530"/>
                <a:gd name="connsiteX54" fmla="*/ 868704 w 1210014"/>
                <a:gd name="connsiteY54" fmla="*/ 270073 h 947530"/>
                <a:gd name="connsiteX55" fmla="*/ 908405 w 1210014"/>
                <a:gd name="connsiteY55" fmla="*/ 267303 h 947530"/>
                <a:gd name="connsiteX56" fmla="*/ 941643 w 1210014"/>
                <a:gd name="connsiteY56" fmla="*/ 240859 h 947530"/>
                <a:gd name="connsiteX57" fmla="*/ 975301 w 1210014"/>
                <a:gd name="connsiteY57" fmla="*/ 216934 h 947530"/>
                <a:gd name="connsiteX58" fmla="*/ 1009211 w 1210014"/>
                <a:gd name="connsiteY58" fmla="*/ 232464 h 947530"/>
                <a:gd name="connsiteX59" fmla="*/ 1044212 w 1210014"/>
                <a:gd name="connsiteY59" fmla="*/ 251940 h 947530"/>
                <a:gd name="connsiteX60" fmla="*/ 1066455 w 1210014"/>
                <a:gd name="connsiteY60" fmla="*/ 226336 h 947530"/>
                <a:gd name="connsiteX61" fmla="*/ 1103722 w 1210014"/>
                <a:gd name="connsiteY61" fmla="*/ 222894 h 947530"/>
                <a:gd name="connsiteX62" fmla="*/ 1181111 w 1210014"/>
                <a:gd name="connsiteY62" fmla="*/ 235822 h 947530"/>
                <a:gd name="connsiteX63" fmla="*/ 1199912 w 1210014"/>
                <a:gd name="connsiteY63" fmla="*/ 191582 h 947530"/>
                <a:gd name="connsiteX64" fmla="*/ 1145438 w 1210014"/>
                <a:gd name="connsiteY64" fmla="*/ 189231 h 947530"/>
                <a:gd name="connsiteX65" fmla="*/ 1128232 w 1210014"/>
                <a:gd name="connsiteY65" fmla="*/ 132483 h 947530"/>
                <a:gd name="connsiteX66" fmla="*/ 1077870 w 1210014"/>
                <a:gd name="connsiteY66" fmla="*/ 138695 h 947530"/>
                <a:gd name="connsiteX67" fmla="*/ 1021550 w 1210014"/>
                <a:gd name="connsiteY67" fmla="*/ 145830 h 947530"/>
                <a:gd name="connsiteX68" fmla="*/ 1002412 w 1210014"/>
                <a:gd name="connsiteY68" fmla="*/ 91180 h 947530"/>
                <a:gd name="connsiteX69" fmla="*/ 950289 w 1210014"/>
                <a:gd name="connsiteY69" fmla="*/ 117792 h 947530"/>
                <a:gd name="connsiteX70" fmla="*/ 887841 w 1210014"/>
                <a:gd name="connsiteY70" fmla="*/ 125011 h 947530"/>
                <a:gd name="connsiteX71" fmla="*/ 780740 w 1210014"/>
                <a:gd name="connsiteY71" fmla="*/ 170343 h 947530"/>
                <a:gd name="connsiteX72" fmla="*/ 732225 w 1210014"/>
                <a:gd name="connsiteY72" fmla="*/ 168832 h 947530"/>
                <a:gd name="connsiteX73" fmla="*/ 688075 w 1210014"/>
                <a:gd name="connsiteY73" fmla="*/ 127026 h 947530"/>
                <a:gd name="connsiteX74" fmla="*/ 644009 w 1210014"/>
                <a:gd name="connsiteY74" fmla="*/ 100918 h 947530"/>
                <a:gd name="connsiteX75" fmla="*/ 610435 w 1210014"/>
                <a:gd name="connsiteY75" fmla="*/ 97225 h 947530"/>
                <a:gd name="connsiteX76" fmla="*/ 583660 w 1210014"/>
                <a:gd name="connsiteY76" fmla="*/ 112503 h 947530"/>
                <a:gd name="connsiteX77" fmla="*/ 563767 w 1210014"/>
                <a:gd name="connsiteY77" fmla="*/ 75650 h 947530"/>
                <a:gd name="connsiteX78" fmla="*/ 587353 w 1210014"/>
                <a:gd name="connsiteY78" fmla="*/ 62134 h 947530"/>
                <a:gd name="connsiteX79" fmla="*/ 608253 w 1210014"/>
                <a:gd name="connsiteY79" fmla="*/ 40476 h 947530"/>
                <a:gd name="connsiteX80" fmla="*/ 622605 w 1210014"/>
                <a:gd name="connsiteY80" fmla="*/ 685 h 947530"/>
                <a:gd name="connsiteX81" fmla="*/ 559654 w 1210014"/>
                <a:gd name="connsiteY81" fmla="*/ 21588 h 947530"/>
                <a:gd name="connsiteX82" fmla="*/ 477734 w 1210014"/>
                <a:gd name="connsiteY82" fmla="*/ 106627 h 947530"/>
                <a:gd name="connsiteX83" fmla="*/ 409074 w 1210014"/>
                <a:gd name="connsiteY83" fmla="*/ 130804 h 947530"/>
                <a:gd name="connsiteX84" fmla="*/ 352334 w 1210014"/>
                <a:gd name="connsiteY84" fmla="*/ 169671 h 947530"/>
                <a:gd name="connsiteX85" fmla="*/ 299875 w 1210014"/>
                <a:gd name="connsiteY85" fmla="*/ 179158 h 947530"/>
                <a:gd name="connsiteX86" fmla="*/ 272596 w 1210014"/>
                <a:gd name="connsiteY86" fmla="*/ 139618 h 947530"/>
                <a:gd name="connsiteX87" fmla="*/ 224333 w 1210014"/>
                <a:gd name="connsiteY87" fmla="*/ 134413 h 947530"/>
                <a:gd name="connsiteX88" fmla="*/ 165662 w 1210014"/>
                <a:gd name="connsiteY88" fmla="*/ 164719 h 947530"/>
                <a:gd name="connsiteX89" fmla="*/ 107747 w 1210014"/>
                <a:gd name="connsiteY89" fmla="*/ 179158 h 947530"/>
                <a:gd name="connsiteX90" fmla="*/ 103047 w 1210014"/>
                <a:gd name="connsiteY90" fmla="*/ 167825 h 947530"/>
                <a:gd name="connsiteX91" fmla="*/ 91632 w 1210014"/>
                <a:gd name="connsiteY91" fmla="*/ 182180 h 94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210014" h="947530">
                  <a:moveTo>
                    <a:pt x="91296" y="182264"/>
                  </a:moveTo>
                  <a:cubicBezTo>
                    <a:pt x="78873" y="193177"/>
                    <a:pt x="77279" y="195527"/>
                    <a:pt x="77027" y="211645"/>
                  </a:cubicBezTo>
                  <a:cubicBezTo>
                    <a:pt x="76691" y="241782"/>
                    <a:pt x="75264" y="275781"/>
                    <a:pt x="63262" y="298867"/>
                  </a:cubicBezTo>
                  <a:cubicBezTo>
                    <a:pt x="56463" y="311879"/>
                    <a:pt x="46138" y="319938"/>
                    <a:pt x="36066" y="326654"/>
                  </a:cubicBezTo>
                  <a:lnTo>
                    <a:pt x="32541" y="329004"/>
                  </a:lnTo>
                  <a:cubicBezTo>
                    <a:pt x="22133" y="335888"/>
                    <a:pt x="6353" y="346213"/>
                    <a:pt x="1737" y="356707"/>
                  </a:cubicBezTo>
                  <a:cubicBezTo>
                    <a:pt x="-3467" y="368543"/>
                    <a:pt x="3583" y="376602"/>
                    <a:pt x="15418" y="388691"/>
                  </a:cubicBezTo>
                  <a:cubicBezTo>
                    <a:pt x="26330" y="399856"/>
                    <a:pt x="38668" y="412532"/>
                    <a:pt x="34723" y="431420"/>
                  </a:cubicBezTo>
                  <a:cubicBezTo>
                    <a:pt x="33297" y="438388"/>
                    <a:pt x="30611" y="445356"/>
                    <a:pt x="28009" y="451987"/>
                  </a:cubicBezTo>
                  <a:cubicBezTo>
                    <a:pt x="25239" y="459039"/>
                    <a:pt x="22385" y="466342"/>
                    <a:pt x="21042" y="473814"/>
                  </a:cubicBezTo>
                  <a:cubicBezTo>
                    <a:pt x="19112" y="484307"/>
                    <a:pt x="20370" y="494717"/>
                    <a:pt x="21714" y="505630"/>
                  </a:cubicBezTo>
                  <a:cubicBezTo>
                    <a:pt x="21965" y="507980"/>
                    <a:pt x="22301" y="510331"/>
                    <a:pt x="22553" y="512682"/>
                  </a:cubicBezTo>
                  <a:cubicBezTo>
                    <a:pt x="25323" y="538118"/>
                    <a:pt x="39340" y="564057"/>
                    <a:pt x="57386" y="577153"/>
                  </a:cubicBezTo>
                  <a:cubicBezTo>
                    <a:pt x="72326" y="588067"/>
                    <a:pt x="87939" y="596713"/>
                    <a:pt x="103047" y="605192"/>
                  </a:cubicBezTo>
                  <a:cubicBezTo>
                    <a:pt x="113623" y="611068"/>
                    <a:pt x="124618" y="617196"/>
                    <a:pt x="135278" y="623996"/>
                  </a:cubicBezTo>
                  <a:cubicBezTo>
                    <a:pt x="145434" y="630460"/>
                    <a:pt x="153743" y="638855"/>
                    <a:pt x="161801" y="646998"/>
                  </a:cubicBezTo>
                  <a:cubicBezTo>
                    <a:pt x="172125" y="657323"/>
                    <a:pt x="181862" y="667145"/>
                    <a:pt x="194872" y="673106"/>
                  </a:cubicBezTo>
                  <a:cubicBezTo>
                    <a:pt x="225676" y="687209"/>
                    <a:pt x="233398" y="707188"/>
                    <a:pt x="236503" y="736906"/>
                  </a:cubicBezTo>
                  <a:cubicBezTo>
                    <a:pt x="236924" y="740935"/>
                    <a:pt x="237259" y="744881"/>
                    <a:pt x="237595" y="748826"/>
                  </a:cubicBezTo>
                  <a:cubicBezTo>
                    <a:pt x="238434" y="758061"/>
                    <a:pt x="239189" y="766791"/>
                    <a:pt x="240617" y="775941"/>
                  </a:cubicBezTo>
                  <a:cubicBezTo>
                    <a:pt x="241624" y="782573"/>
                    <a:pt x="245317" y="787694"/>
                    <a:pt x="249262" y="793151"/>
                  </a:cubicBezTo>
                  <a:cubicBezTo>
                    <a:pt x="253291" y="798775"/>
                    <a:pt x="257404" y="804567"/>
                    <a:pt x="258831" y="812123"/>
                  </a:cubicBezTo>
                  <a:cubicBezTo>
                    <a:pt x="260761" y="822197"/>
                    <a:pt x="256984" y="830843"/>
                    <a:pt x="253627" y="838482"/>
                  </a:cubicBezTo>
                  <a:cubicBezTo>
                    <a:pt x="251612" y="843015"/>
                    <a:pt x="249765" y="847297"/>
                    <a:pt x="249010" y="851578"/>
                  </a:cubicBezTo>
                  <a:cubicBezTo>
                    <a:pt x="247079" y="863499"/>
                    <a:pt x="252451" y="873740"/>
                    <a:pt x="258159" y="884570"/>
                  </a:cubicBezTo>
                  <a:lnTo>
                    <a:pt x="260677" y="889355"/>
                  </a:lnTo>
                  <a:cubicBezTo>
                    <a:pt x="269322" y="906480"/>
                    <a:pt x="281745" y="914203"/>
                    <a:pt x="296098" y="923102"/>
                  </a:cubicBezTo>
                  <a:cubicBezTo>
                    <a:pt x="303232" y="927551"/>
                    <a:pt x="310618" y="932084"/>
                    <a:pt x="318089" y="938212"/>
                  </a:cubicBezTo>
                  <a:cubicBezTo>
                    <a:pt x="321530" y="940982"/>
                    <a:pt x="324048" y="944172"/>
                    <a:pt x="326230" y="947530"/>
                  </a:cubicBezTo>
                  <a:lnTo>
                    <a:pt x="720558" y="926292"/>
                  </a:lnTo>
                  <a:cubicBezTo>
                    <a:pt x="718879" y="916302"/>
                    <a:pt x="719131" y="906396"/>
                    <a:pt x="719131" y="895735"/>
                  </a:cubicBezTo>
                  <a:cubicBezTo>
                    <a:pt x="719131" y="882471"/>
                    <a:pt x="715438" y="871894"/>
                    <a:pt x="713675" y="859050"/>
                  </a:cubicBezTo>
                  <a:cubicBezTo>
                    <a:pt x="711913" y="846457"/>
                    <a:pt x="710654" y="832270"/>
                    <a:pt x="707716" y="820182"/>
                  </a:cubicBezTo>
                  <a:cubicBezTo>
                    <a:pt x="704862" y="808849"/>
                    <a:pt x="698567" y="798607"/>
                    <a:pt x="696301" y="786771"/>
                  </a:cubicBezTo>
                  <a:cubicBezTo>
                    <a:pt x="691264" y="759823"/>
                    <a:pt x="698735" y="731281"/>
                    <a:pt x="700246" y="704502"/>
                  </a:cubicBezTo>
                  <a:cubicBezTo>
                    <a:pt x="701505" y="681920"/>
                    <a:pt x="712752" y="661437"/>
                    <a:pt x="715018" y="638687"/>
                  </a:cubicBezTo>
                  <a:cubicBezTo>
                    <a:pt x="716109" y="627774"/>
                    <a:pt x="715018" y="617868"/>
                    <a:pt x="717536" y="607458"/>
                  </a:cubicBezTo>
                  <a:cubicBezTo>
                    <a:pt x="720474" y="595538"/>
                    <a:pt x="719887" y="585296"/>
                    <a:pt x="721817" y="573628"/>
                  </a:cubicBezTo>
                  <a:cubicBezTo>
                    <a:pt x="726266" y="546680"/>
                    <a:pt x="739863" y="516291"/>
                    <a:pt x="746830" y="488337"/>
                  </a:cubicBezTo>
                  <a:cubicBezTo>
                    <a:pt x="750523" y="473562"/>
                    <a:pt x="759504" y="462229"/>
                    <a:pt x="766890" y="449133"/>
                  </a:cubicBezTo>
                  <a:cubicBezTo>
                    <a:pt x="773101" y="438052"/>
                    <a:pt x="786447" y="425292"/>
                    <a:pt x="786447" y="411273"/>
                  </a:cubicBezTo>
                  <a:cubicBezTo>
                    <a:pt x="786447" y="392888"/>
                    <a:pt x="774780" y="387516"/>
                    <a:pt x="761099" y="399100"/>
                  </a:cubicBezTo>
                  <a:cubicBezTo>
                    <a:pt x="749936" y="408586"/>
                    <a:pt x="743892" y="423697"/>
                    <a:pt x="738520" y="436289"/>
                  </a:cubicBezTo>
                  <a:cubicBezTo>
                    <a:pt x="732561" y="450140"/>
                    <a:pt x="723244" y="459459"/>
                    <a:pt x="714683" y="471547"/>
                  </a:cubicBezTo>
                  <a:cubicBezTo>
                    <a:pt x="705617" y="484391"/>
                    <a:pt x="700498" y="499670"/>
                    <a:pt x="690593" y="512094"/>
                  </a:cubicBezTo>
                  <a:cubicBezTo>
                    <a:pt x="682619" y="522084"/>
                    <a:pt x="669190" y="538789"/>
                    <a:pt x="661552" y="522168"/>
                  </a:cubicBezTo>
                  <a:cubicBezTo>
                    <a:pt x="657607" y="513605"/>
                    <a:pt x="663482" y="493625"/>
                    <a:pt x="667427" y="485147"/>
                  </a:cubicBezTo>
                  <a:cubicBezTo>
                    <a:pt x="680269" y="457192"/>
                    <a:pt x="700498" y="433351"/>
                    <a:pt x="714011" y="405984"/>
                  </a:cubicBezTo>
                  <a:cubicBezTo>
                    <a:pt x="725343" y="383150"/>
                    <a:pt x="729203" y="335972"/>
                    <a:pt x="751027" y="321533"/>
                  </a:cubicBezTo>
                  <a:cubicBezTo>
                    <a:pt x="762945" y="313642"/>
                    <a:pt x="774864" y="317335"/>
                    <a:pt x="783929" y="305079"/>
                  </a:cubicBezTo>
                  <a:cubicBezTo>
                    <a:pt x="792742" y="293158"/>
                    <a:pt x="794841" y="272927"/>
                    <a:pt x="809949" y="284260"/>
                  </a:cubicBezTo>
                  <a:cubicBezTo>
                    <a:pt x="813978" y="287282"/>
                    <a:pt x="812803" y="292907"/>
                    <a:pt x="814482" y="297692"/>
                  </a:cubicBezTo>
                  <a:cubicBezTo>
                    <a:pt x="817251" y="305834"/>
                    <a:pt x="811963" y="308437"/>
                    <a:pt x="822791" y="309276"/>
                  </a:cubicBezTo>
                  <a:cubicBezTo>
                    <a:pt x="827408" y="309612"/>
                    <a:pt x="838067" y="303064"/>
                    <a:pt x="841761" y="299371"/>
                  </a:cubicBezTo>
                  <a:cubicBezTo>
                    <a:pt x="853511" y="287534"/>
                    <a:pt x="851329" y="273683"/>
                    <a:pt x="868704" y="270073"/>
                  </a:cubicBezTo>
                  <a:cubicBezTo>
                    <a:pt x="881965" y="267303"/>
                    <a:pt x="894975" y="270073"/>
                    <a:pt x="908405" y="267303"/>
                  </a:cubicBezTo>
                  <a:cubicBezTo>
                    <a:pt x="923681" y="264196"/>
                    <a:pt x="932998" y="252864"/>
                    <a:pt x="941643" y="240859"/>
                  </a:cubicBezTo>
                  <a:cubicBezTo>
                    <a:pt x="950792" y="228015"/>
                    <a:pt x="957759" y="215759"/>
                    <a:pt x="975301" y="216934"/>
                  </a:cubicBezTo>
                  <a:cubicBezTo>
                    <a:pt x="991333" y="218025"/>
                    <a:pt x="998384" y="223230"/>
                    <a:pt x="1009211" y="232464"/>
                  </a:cubicBezTo>
                  <a:cubicBezTo>
                    <a:pt x="1017857" y="239852"/>
                    <a:pt x="1032377" y="251185"/>
                    <a:pt x="1044212" y="251940"/>
                  </a:cubicBezTo>
                  <a:cubicBezTo>
                    <a:pt x="1062930" y="253031"/>
                    <a:pt x="1057726" y="235235"/>
                    <a:pt x="1066455" y="226336"/>
                  </a:cubicBezTo>
                  <a:cubicBezTo>
                    <a:pt x="1074429" y="218193"/>
                    <a:pt x="1093566" y="221047"/>
                    <a:pt x="1103722" y="222894"/>
                  </a:cubicBezTo>
                  <a:cubicBezTo>
                    <a:pt x="1130078" y="227763"/>
                    <a:pt x="1153412" y="241782"/>
                    <a:pt x="1181111" y="235822"/>
                  </a:cubicBezTo>
                  <a:cubicBezTo>
                    <a:pt x="1201003" y="231541"/>
                    <a:pt x="1223498" y="205769"/>
                    <a:pt x="1199912" y="191582"/>
                  </a:cubicBezTo>
                  <a:cubicBezTo>
                    <a:pt x="1187322" y="184026"/>
                    <a:pt x="1160294" y="195024"/>
                    <a:pt x="1145438" y="189231"/>
                  </a:cubicBezTo>
                  <a:cubicBezTo>
                    <a:pt x="1111277" y="175800"/>
                    <a:pt x="1138471" y="154813"/>
                    <a:pt x="1128232" y="132483"/>
                  </a:cubicBezTo>
                  <a:cubicBezTo>
                    <a:pt x="1115893" y="105619"/>
                    <a:pt x="1092895" y="131223"/>
                    <a:pt x="1077870" y="138695"/>
                  </a:cubicBezTo>
                  <a:cubicBezTo>
                    <a:pt x="1067295" y="143899"/>
                    <a:pt x="1033049" y="152966"/>
                    <a:pt x="1021550" y="145830"/>
                  </a:cubicBezTo>
                  <a:cubicBezTo>
                    <a:pt x="1013408" y="140793"/>
                    <a:pt x="1009211" y="98484"/>
                    <a:pt x="1002412" y="91180"/>
                  </a:cubicBezTo>
                  <a:cubicBezTo>
                    <a:pt x="991081" y="79092"/>
                    <a:pt x="965481" y="112083"/>
                    <a:pt x="950289" y="117792"/>
                  </a:cubicBezTo>
                  <a:cubicBezTo>
                    <a:pt x="930312" y="125263"/>
                    <a:pt x="907985" y="120394"/>
                    <a:pt x="887841" y="125011"/>
                  </a:cubicBezTo>
                  <a:cubicBezTo>
                    <a:pt x="862324" y="130804"/>
                    <a:pt x="792910" y="194100"/>
                    <a:pt x="780740" y="170343"/>
                  </a:cubicBezTo>
                  <a:cubicBezTo>
                    <a:pt x="770332" y="150196"/>
                    <a:pt x="743053" y="169000"/>
                    <a:pt x="732225" y="168832"/>
                  </a:cubicBezTo>
                  <a:cubicBezTo>
                    <a:pt x="705533" y="168412"/>
                    <a:pt x="702680" y="144319"/>
                    <a:pt x="688075" y="127026"/>
                  </a:cubicBezTo>
                  <a:cubicBezTo>
                    <a:pt x="676324" y="113259"/>
                    <a:pt x="661216" y="105787"/>
                    <a:pt x="644009" y="100918"/>
                  </a:cubicBezTo>
                  <a:cubicBezTo>
                    <a:pt x="633685" y="98064"/>
                    <a:pt x="621598" y="95210"/>
                    <a:pt x="610435" y="97225"/>
                  </a:cubicBezTo>
                  <a:cubicBezTo>
                    <a:pt x="598432" y="99407"/>
                    <a:pt x="593732" y="109229"/>
                    <a:pt x="583660" y="112503"/>
                  </a:cubicBezTo>
                  <a:cubicBezTo>
                    <a:pt x="560997" y="119974"/>
                    <a:pt x="554031" y="93111"/>
                    <a:pt x="563767" y="75650"/>
                  </a:cubicBezTo>
                  <a:cubicBezTo>
                    <a:pt x="569894" y="64653"/>
                    <a:pt x="578623" y="68095"/>
                    <a:pt x="587353" y="62134"/>
                  </a:cubicBezTo>
                  <a:cubicBezTo>
                    <a:pt x="596418" y="55922"/>
                    <a:pt x="600530" y="47360"/>
                    <a:pt x="608253" y="40476"/>
                  </a:cubicBezTo>
                  <a:cubicBezTo>
                    <a:pt x="618493" y="31326"/>
                    <a:pt x="657607" y="8996"/>
                    <a:pt x="622605" y="685"/>
                  </a:cubicBezTo>
                  <a:cubicBezTo>
                    <a:pt x="605483" y="-3429"/>
                    <a:pt x="573252" y="11934"/>
                    <a:pt x="559654" y="21588"/>
                  </a:cubicBezTo>
                  <a:cubicBezTo>
                    <a:pt x="528598" y="43498"/>
                    <a:pt x="509377" y="85136"/>
                    <a:pt x="477734" y="106627"/>
                  </a:cubicBezTo>
                  <a:cubicBezTo>
                    <a:pt x="456414" y="121066"/>
                    <a:pt x="432493" y="124843"/>
                    <a:pt x="409074" y="130804"/>
                  </a:cubicBezTo>
                  <a:cubicBezTo>
                    <a:pt x="381795" y="137771"/>
                    <a:pt x="375165" y="156324"/>
                    <a:pt x="352334" y="169671"/>
                  </a:cubicBezTo>
                  <a:cubicBezTo>
                    <a:pt x="338821" y="177646"/>
                    <a:pt x="316662" y="181928"/>
                    <a:pt x="299875" y="179158"/>
                  </a:cubicBezTo>
                  <a:cubicBezTo>
                    <a:pt x="271085" y="174540"/>
                    <a:pt x="277883" y="161696"/>
                    <a:pt x="272596" y="139618"/>
                  </a:cubicBezTo>
                  <a:cubicBezTo>
                    <a:pt x="265965" y="111999"/>
                    <a:pt x="244981" y="124088"/>
                    <a:pt x="224333" y="134413"/>
                  </a:cubicBezTo>
                  <a:cubicBezTo>
                    <a:pt x="205112" y="143983"/>
                    <a:pt x="184548" y="153302"/>
                    <a:pt x="165662" y="164719"/>
                  </a:cubicBezTo>
                  <a:cubicBezTo>
                    <a:pt x="151310" y="173449"/>
                    <a:pt x="125793" y="196367"/>
                    <a:pt x="107747" y="179158"/>
                  </a:cubicBezTo>
                  <a:cubicBezTo>
                    <a:pt x="104558" y="176051"/>
                    <a:pt x="103131" y="172190"/>
                    <a:pt x="103047" y="167825"/>
                  </a:cubicBezTo>
                  <a:cubicBezTo>
                    <a:pt x="100445" y="172694"/>
                    <a:pt x="97003" y="177479"/>
                    <a:pt x="91632" y="18218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4EA4247E-D4E1-0416-6DB0-B0E94BD5011C}"/>
                </a:ext>
              </a:extLst>
            </p:cNvPr>
            <p:cNvSpPr/>
            <p:nvPr/>
          </p:nvSpPr>
          <p:spPr>
            <a:xfrm>
              <a:off x="6865201" y="4369194"/>
              <a:ext cx="1870265" cy="1838053"/>
            </a:xfrm>
            <a:custGeom>
              <a:avLst/>
              <a:gdLst>
                <a:gd name="connsiteX0" fmla="*/ 2019649 w 2070601"/>
                <a:gd name="connsiteY0" fmla="*/ 1292878 h 2034939"/>
                <a:gd name="connsiteX1" fmla="*/ 2029385 w 2070601"/>
                <a:gd name="connsiteY1" fmla="*/ 1268281 h 2034939"/>
                <a:gd name="connsiteX2" fmla="*/ 2036268 w 2070601"/>
                <a:gd name="connsiteY2" fmla="*/ 1256109 h 2034939"/>
                <a:gd name="connsiteX3" fmla="*/ 2049949 w 2070601"/>
                <a:gd name="connsiteY3" fmla="*/ 1220851 h 2034939"/>
                <a:gd name="connsiteX4" fmla="*/ 2046340 w 2070601"/>
                <a:gd name="connsiteY4" fmla="*/ 1199780 h 2034939"/>
                <a:gd name="connsiteX5" fmla="*/ 2043151 w 2070601"/>
                <a:gd name="connsiteY5" fmla="*/ 1167712 h 2034939"/>
                <a:gd name="connsiteX6" fmla="*/ 2052048 w 2070601"/>
                <a:gd name="connsiteY6" fmla="*/ 1137575 h 2034939"/>
                <a:gd name="connsiteX7" fmla="*/ 2061029 w 2070601"/>
                <a:gd name="connsiteY7" fmla="*/ 1122968 h 2034939"/>
                <a:gd name="connsiteX8" fmla="*/ 2067660 w 2070601"/>
                <a:gd name="connsiteY8" fmla="*/ 1112894 h 2034939"/>
                <a:gd name="connsiteX9" fmla="*/ 2070178 w 2070601"/>
                <a:gd name="connsiteY9" fmla="*/ 1086787 h 2034939"/>
                <a:gd name="connsiteX10" fmla="*/ 2069926 w 2070601"/>
                <a:gd name="connsiteY10" fmla="*/ 1077720 h 2034939"/>
                <a:gd name="connsiteX11" fmla="*/ 2070262 w 2070601"/>
                <a:gd name="connsiteY11" fmla="*/ 1069325 h 2034939"/>
                <a:gd name="connsiteX12" fmla="*/ 2068583 w 2070601"/>
                <a:gd name="connsiteY12" fmla="*/ 1046911 h 2034939"/>
                <a:gd name="connsiteX13" fmla="*/ 2050705 w 2070601"/>
                <a:gd name="connsiteY13" fmla="*/ 1025253 h 2034939"/>
                <a:gd name="connsiteX14" fmla="*/ 2027958 w 2070601"/>
                <a:gd name="connsiteY14" fmla="*/ 980761 h 2034939"/>
                <a:gd name="connsiteX15" fmla="*/ 2029302 w 2070601"/>
                <a:gd name="connsiteY15" fmla="*/ 971610 h 2034939"/>
                <a:gd name="connsiteX16" fmla="*/ 2030225 w 2070601"/>
                <a:gd name="connsiteY16" fmla="*/ 949868 h 2034939"/>
                <a:gd name="connsiteX17" fmla="*/ 2017886 w 2070601"/>
                <a:gd name="connsiteY17" fmla="*/ 933078 h 2034939"/>
                <a:gd name="connsiteX18" fmla="*/ 2012263 w 2070601"/>
                <a:gd name="connsiteY18" fmla="*/ 927202 h 2034939"/>
                <a:gd name="connsiteX19" fmla="*/ 2010164 w 2070601"/>
                <a:gd name="connsiteY19" fmla="*/ 924851 h 2034939"/>
                <a:gd name="connsiteX20" fmla="*/ 1993713 w 2070601"/>
                <a:gd name="connsiteY20" fmla="*/ 902269 h 2034939"/>
                <a:gd name="connsiteX21" fmla="*/ 1989264 w 2070601"/>
                <a:gd name="connsiteY21" fmla="*/ 879352 h 2034939"/>
                <a:gd name="connsiteX22" fmla="*/ 1988089 w 2070601"/>
                <a:gd name="connsiteY22" fmla="*/ 870201 h 2034939"/>
                <a:gd name="connsiteX23" fmla="*/ 1987670 w 2070601"/>
                <a:gd name="connsiteY23" fmla="*/ 859036 h 2034939"/>
                <a:gd name="connsiteX24" fmla="*/ 1987754 w 2070601"/>
                <a:gd name="connsiteY24" fmla="*/ 854251 h 2034939"/>
                <a:gd name="connsiteX25" fmla="*/ 1983641 w 2070601"/>
                <a:gd name="connsiteY25" fmla="*/ 594181 h 2034939"/>
                <a:gd name="connsiteX26" fmla="*/ 1951745 w 2070601"/>
                <a:gd name="connsiteY26" fmla="*/ 594181 h 2034939"/>
                <a:gd name="connsiteX27" fmla="*/ 1930426 w 2070601"/>
                <a:gd name="connsiteY27" fmla="*/ 590488 h 2034939"/>
                <a:gd name="connsiteX28" fmla="*/ 1924550 w 2070601"/>
                <a:gd name="connsiteY28" fmla="*/ 586207 h 2034939"/>
                <a:gd name="connsiteX29" fmla="*/ 1922200 w 2070601"/>
                <a:gd name="connsiteY29" fmla="*/ 584108 h 2034939"/>
                <a:gd name="connsiteX30" fmla="*/ 1918171 w 2070601"/>
                <a:gd name="connsiteY30" fmla="*/ 580918 h 2034939"/>
                <a:gd name="connsiteX31" fmla="*/ 1914142 w 2070601"/>
                <a:gd name="connsiteY31" fmla="*/ 577728 h 2034939"/>
                <a:gd name="connsiteX32" fmla="*/ 1905329 w 2070601"/>
                <a:gd name="connsiteY32" fmla="*/ 574790 h 2034939"/>
                <a:gd name="connsiteX33" fmla="*/ 1903734 w 2070601"/>
                <a:gd name="connsiteY33" fmla="*/ 574454 h 2034939"/>
                <a:gd name="connsiteX34" fmla="*/ 1882247 w 2070601"/>
                <a:gd name="connsiteY34" fmla="*/ 566227 h 2034939"/>
                <a:gd name="connsiteX35" fmla="*/ 1857738 w 2070601"/>
                <a:gd name="connsiteY35" fmla="*/ 547423 h 2034939"/>
                <a:gd name="connsiteX36" fmla="*/ 1845064 w 2070601"/>
                <a:gd name="connsiteY36" fmla="*/ 540203 h 2034939"/>
                <a:gd name="connsiteX37" fmla="*/ 1836166 w 2070601"/>
                <a:gd name="connsiteY37" fmla="*/ 535754 h 2034939"/>
                <a:gd name="connsiteX38" fmla="*/ 1827773 w 2070601"/>
                <a:gd name="connsiteY38" fmla="*/ 530633 h 2034939"/>
                <a:gd name="connsiteX39" fmla="*/ 1813252 w 2070601"/>
                <a:gd name="connsiteY39" fmla="*/ 522322 h 2034939"/>
                <a:gd name="connsiteX40" fmla="*/ 1758694 w 2070601"/>
                <a:gd name="connsiteY40" fmla="*/ 517789 h 2034939"/>
                <a:gd name="connsiteX41" fmla="*/ 1735276 w 2070601"/>
                <a:gd name="connsiteY41" fmla="*/ 526100 h 2034939"/>
                <a:gd name="connsiteX42" fmla="*/ 1698429 w 2070601"/>
                <a:gd name="connsiteY42" fmla="*/ 538272 h 2034939"/>
                <a:gd name="connsiteX43" fmla="*/ 1676522 w 2070601"/>
                <a:gd name="connsiteY43" fmla="*/ 544820 h 2034939"/>
                <a:gd name="connsiteX44" fmla="*/ 1639423 w 2070601"/>
                <a:gd name="connsiteY44" fmla="*/ 554139 h 2034939"/>
                <a:gd name="connsiteX45" fmla="*/ 1633967 w 2070601"/>
                <a:gd name="connsiteY45" fmla="*/ 554894 h 2034939"/>
                <a:gd name="connsiteX46" fmla="*/ 1607191 w 2070601"/>
                <a:gd name="connsiteY46" fmla="*/ 555062 h 2034939"/>
                <a:gd name="connsiteX47" fmla="*/ 1589061 w 2070601"/>
                <a:gd name="connsiteY47" fmla="*/ 545996 h 2034939"/>
                <a:gd name="connsiteX48" fmla="*/ 1579073 w 2070601"/>
                <a:gd name="connsiteY48" fmla="*/ 540119 h 2034939"/>
                <a:gd name="connsiteX49" fmla="*/ 1520486 w 2070601"/>
                <a:gd name="connsiteY49" fmla="*/ 535083 h 2034939"/>
                <a:gd name="connsiteX50" fmla="*/ 1509575 w 2070601"/>
                <a:gd name="connsiteY50" fmla="*/ 540623 h 2034939"/>
                <a:gd name="connsiteX51" fmla="*/ 1493627 w 2070601"/>
                <a:gd name="connsiteY51" fmla="*/ 547758 h 2034939"/>
                <a:gd name="connsiteX52" fmla="*/ 1454933 w 2070601"/>
                <a:gd name="connsiteY52" fmla="*/ 535670 h 2034939"/>
                <a:gd name="connsiteX53" fmla="*/ 1447882 w 2070601"/>
                <a:gd name="connsiteY53" fmla="*/ 530885 h 2034939"/>
                <a:gd name="connsiteX54" fmla="*/ 1427990 w 2070601"/>
                <a:gd name="connsiteY54" fmla="*/ 520475 h 2034939"/>
                <a:gd name="connsiteX55" fmla="*/ 1403481 w 2070601"/>
                <a:gd name="connsiteY55" fmla="*/ 520979 h 2034939"/>
                <a:gd name="connsiteX56" fmla="*/ 1397941 w 2070601"/>
                <a:gd name="connsiteY56" fmla="*/ 521567 h 2034939"/>
                <a:gd name="connsiteX57" fmla="*/ 1357904 w 2070601"/>
                <a:gd name="connsiteY57" fmla="*/ 496718 h 2034939"/>
                <a:gd name="connsiteX58" fmla="*/ 1346237 w 2070601"/>
                <a:gd name="connsiteY58" fmla="*/ 481356 h 2034939"/>
                <a:gd name="connsiteX59" fmla="*/ 1296211 w 2070601"/>
                <a:gd name="connsiteY59" fmla="*/ 482699 h 2034939"/>
                <a:gd name="connsiteX60" fmla="*/ 1275479 w 2070601"/>
                <a:gd name="connsiteY60" fmla="*/ 488995 h 2034939"/>
                <a:gd name="connsiteX61" fmla="*/ 1249292 w 2070601"/>
                <a:gd name="connsiteY61" fmla="*/ 480097 h 2034939"/>
                <a:gd name="connsiteX62" fmla="*/ 1241905 w 2070601"/>
                <a:gd name="connsiteY62" fmla="*/ 474472 h 2034939"/>
                <a:gd name="connsiteX63" fmla="*/ 1222684 w 2070601"/>
                <a:gd name="connsiteY63" fmla="*/ 469687 h 2034939"/>
                <a:gd name="connsiteX64" fmla="*/ 1206317 w 2070601"/>
                <a:gd name="connsiteY64" fmla="*/ 466833 h 2034939"/>
                <a:gd name="connsiteX65" fmla="*/ 1182395 w 2070601"/>
                <a:gd name="connsiteY65" fmla="*/ 445091 h 2034939"/>
                <a:gd name="connsiteX66" fmla="*/ 1180297 w 2070601"/>
                <a:gd name="connsiteY66" fmla="*/ 440641 h 2034939"/>
                <a:gd name="connsiteX67" fmla="*/ 1175513 w 2070601"/>
                <a:gd name="connsiteY67" fmla="*/ 432414 h 2034939"/>
                <a:gd name="connsiteX68" fmla="*/ 1171484 w 2070601"/>
                <a:gd name="connsiteY68" fmla="*/ 429224 h 2034939"/>
                <a:gd name="connsiteX69" fmla="*/ 1164769 w 2070601"/>
                <a:gd name="connsiteY69" fmla="*/ 423012 h 2034939"/>
                <a:gd name="connsiteX70" fmla="*/ 1147059 w 2070601"/>
                <a:gd name="connsiteY70" fmla="*/ 423684 h 2034939"/>
                <a:gd name="connsiteX71" fmla="*/ 1098040 w 2070601"/>
                <a:gd name="connsiteY71" fmla="*/ 415709 h 2034939"/>
                <a:gd name="connsiteX72" fmla="*/ 1063711 w 2070601"/>
                <a:gd name="connsiteY72" fmla="*/ 371217 h 2034939"/>
                <a:gd name="connsiteX73" fmla="*/ 1074790 w 2070601"/>
                <a:gd name="connsiteY73" fmla="*/ 27115 h 2034939"/>
                <a:gd name="connsiteX74" fmla="*/ 633963 w 2070601"/>
                <a:gd name="connsiteY74" fmla="*/ 0 h 2034939"/>
                <a:gd name="connsiteX75" fmla="*/ 568073 w 2070601"/>
                <a:gd name="connsiteY75" fmla="*/ 852489 h 2034939"/>
                <a:gd name="connsiteX76" fmla="*/ 1679 w 2070601"/>
                <a:gd name="connsiteY76" fmla="*/ 798090 h 2034939"/>
                <a:gd name="connsiteX77" fmla="*/ 0 w 2070601"/>
                <a:gd name="connsiteY77" fmla="*/ 839980 h 2034939"/>
                <a:gd name="connsiteX78" fmla="*/ 20900 w 2070601"/>
                <a:gd name="connsiteY78" fmla="*/ 854419 h 2034939"/>
                <a:gd name="connsiteX79" fmla="*/ 50697 w 2070601"/>
                <a:gd name="connsiteY79" fmla="*/ 893455 h 2034939"/>
                <a:gd name="connsiteX80" fmla="*/ 96525 w 2070601"/>
                <a:gd name="connsiteY80" fmla="*/ 928461 h 2034939"/>
                <a:gd name="connsiteX81" fmla="*/ 147222 w 2070601"/>
                <a:gd name="connsiteY81" fmla="*/ 981936 h 2034939"/>
                <a:gd name="connsiteX82" fmla="*/ 220834 w 2070601"/>
                <a:gd name="connsiteY82" fmla="*/ 1061434 h 2034939"/>
                <a:gd name="connsiteX83" fmla="*/ 260031 w 2070601"/>
                <a:gd name="connsiteY83" fmla="*/ 1145466 h 2034939"/>
                <a:gd name="connsiteX84" fmla="*/ 266242 w 2070601"/>
                <a:gd name="connsiteY84" fmla="*/ 1185929 h 2034939"/>
                <a:gd name="connsiteX85" fmla="*/ 280511 w 2070601"/>
                <a:gd name="connsiteY85" fmla="*/ 1234618 h 2034939"/>
                <a:gd name="connsiteX86" fmla="*/ 333307 w 2070601"/>
                <a:gd name="connsiteY86" fmla="*/ 1305890 h 2034939"/>
                <a:gd name="connsiteX87" fmla="*/ 379639 w 2070601"/>
                <a:gd name="connsiteY87" fmla="*/ 1332501 h 2034939"/>
                <a:gd name="connsiteX88" fmla="*/ 406079 w 2070601"/>
                <a:gd name="connsiteY88" fmla="*/ 1356594 h 2034939"/>
                <a:gd name="connsiteX89" fmla="*/ 433693 w 2070601"/>
                <a:gd name="connsiteY89" fmla="*/ 1368599 h 2034939"/>
                <a:gd name="connsiteX90" fmla="*/ 488671 w 2070601"/>
                <a:gd name="connsiteY90" fmla="*/ 1408558 h 2034939"/>
                <a:gd name="connsiteX91" fmla="*/ 554056 w 2070601"/>
                <a:gd name="connsiteY91" fmla="*/ 1352061 h 2034939"/>
                <a:gd name="connsiteX92" fmla="*/ 596108 w 2070601"/>
                <a:gd name="connsiteY92" fmla="*/ 1267778 h 2034939"/>
                <a:gd name="connsiteX93" fmla="*/ 686002 w 2070601"/>
                <a:gd name="connsiteY93" fmla="*/ 1263580 h 2034939"/>
                <a:gd name="connsiteX94" fmla="*/ 805610 w 2070601"/>
                <a:gd name="connsiteY94" fmla="*/ 1284483 h 2034939"/>
                <a:gd name="connsiteX95" fmla="*/ 871247 w 2070601"/>
                <a:gd name="connsiteY95" fmla="*/ 1393279 h 2034939"/>
                <a:gd name="connsiteX96" fmla="*/ 948384 w 2070601"/>
                <a:gd name="connsiteY96" fmla="*/ 1503418 h 2034939"/>
                <a:gd name="connsiteX97" fmla="*/ 980363 w 2070601"/>
                <a:gd name="connsiteY97" fmla="*/ 1574270 h 2034939"/>
                <a:gd name="connsiteX98" fmla="*/ 1013601 w 2070601"/>
                <a:gd name="connsiteY98" fmla="*/ 1628417 h 2034939"/>
                <a:gd name="connsiteX99" fmla="*/ 1046840 w 2070601"/>
                <a:gd name="connsiteY99" fmla="*/ 1679625 h 2034939"/>
                <a:gd name="connsiteX100" fmla="*/ 1083687 w 2070601"/>
                <a:gd name="connsiteY100" fmla="*/ 1716897 h 2034939"/>
                <a:gd name="connsiteX101" fmla="*/ 1113988 w 2070601"/>
                <a:gd name="connsiteY101" fmla="*/ 1838705 h 2034939"/>
                <a:gd name="connsiteX102" fmla="*/ 1139252 w 2070601"/>
                <a:gd name="connsiteY102" fmla="*/ 1895790 h 2034939"/>
                <a:gd name="connsiteX103" fmla="*/ 1168714 w 2070601"/>
                <a:gd name="connsiteY103" fmla="*/ 1943388 h 2034939"/>
                <a:gd name="connsiteX104" fmla="*/ 1246438 w 2070601"/>
                <a:gd name="connsiteY104" fmla="*/ 1953882 h 2034939"/>
                <a:gd name="connsiteX105" fmla="*/ 1262470 w 2070601"/>
                <a:gd name="connsiteY105" fmla="*/ 1975120 h 2034939"/>
                <a:gd name="connsiteX106" fmla="*/ 1284209 w 2070601"/>
                <a:gd name="connsiteY106" fmla="*/ 1987544 h 2034939"/>
                <a:gd name="connsiteX107" fmla="*/ 1334486 w 2070601"/>
                <a:gd name="connsiteY107" fmla="*/ 2006517 h 2034939"/>
                <a:gd name="connsiteX108" fmla="*/ 1397521 w 2070601"/>
                <a:gd name="connsiteY108" fmla="*/ 2014408 h 2034939"/>
                <a:gd name="connsiteX109" fmla="*/ 1447882 w 2070601"/>
                <a:gd name="connsiteY109" fmla="*/ 2033800 h 2034939"/>
                <a:gd name="connsiteX110" fmla="*/ 1464585 w 2070601"/>
                <a:gd name="connsiteY110" fmla="*/ 1985530 h 2034939"/>
                <a:gd name="connsiteX111" fmla="*/ 1445280 w 2070601"/>
                <a:gd name="connsiteY111" fmla="*/ 1935749 h 2034939"/>
                <a:gd name="connsiteX112" fmla="*/ 1426899 w 2070601"/>
                <a:gd name="connsiteY112" fmla="*/ 1876902 h 2034939"/>
                <a:gd name="connsiteX113" fmla="*/ 1426479 w 2070601"/>
                <a:gd name="connsiteY113" fmla="*/ 1819733 h 2034939"/>
                <a:gd name="connsiteX114" fmla="*/ 1408181 w 2070601"/>
                <a:gd name="connsiteY114" fmla="*/ 1777340 h 2034939"/>
                <a:gd name="connsiteX115" fmla="*/ 1462571 w 2070601"/>
                <a:gd name="connsiteY115" fmla="*/ 1721095 h 2034939"/>
                <a:gd name="connsiteX116" fmla="*/ 1462487 w 2070601"/>
                <a:gd name="connsiteY116" fmla="*/ 1672825 h 2034939"/>
                <a:gd name="connsiteX117" fmla="*/ 1494550 w 2070601"/>
                <a:gd name="connsiteY117" fmla="*/ 1638826 h 2034939"/>
                <a:gd name="connsiteX118" fmla="*/ 1517045 w 2070601"/>
                <a:gd name="connsiteY118" fmla="*/ 1609360 h 2034939"/>
                <a:gd name="connsiteX119" fmla="*/ 1554732 w 2070601"/>
                <a:gd name="connsiteY119" fmla="*/ 1595341 h 2034939"/>
                <a:gd name="connsiteX120" fmla="*/ 1588642 w 2070601"/>
                <a:gd name="connsiteY120" fmla="*/ 1515759 h 2034939"/>
                <a:gd name="connsiteX121" fmla="*/ 1678117 w 2070601"/>
                <a:gd name="connsiteY121" fmla="*/ 1519201 h 2034939"/>
                <a:gd name="connsiteX122" fmla="*/ 1755673 w 2070601"/>
                <a:gd name="connsiteY122" fmla="*/ 1480249 h 2034939"/>
                <a:gd name="connsiteX123" fmla="*/ 1814847 w 2070601"/>
                <a:gd name="connsiteY123" fmla="*/ 1436680 h 2034939"/>
                <a:gd name="connsiteX124" fmla="*/ 1862774 w 2070601"/>
                <a:gd name="connsiteY124" fmla="*/ 1399659 h 2034939"/>
                <a:gd name="connsiteX125" fmla="*/ 1882667 w 2070601"/>
                <a:gd name="connsiteY125" fmla="*/ 1313529 h 2034939"/>
                <a:gd name="connsiteX126" fmla="*/ 1916661 w 2070601"/>
                <a:gd name="connsiteY126" fmla="*/ 1360288 h 2034939"/>
                <a:gd name="connsiteX127" fmla="*/ 1970799 w 2070601"/>
                <a:gd name="connsiteY127" fmla="*/ 1339637 h 2034939"/>
                <a:gd name="connsiteX128" fmla="*/ 2014445 w 2070601"/>
                <a:gd name="connsiteY128" fmla="*/ 1318902 h 2034939"/>
                <a:gd name="connsiteX129" fmla="*/ 2017551 w 2070601"/>
                <a:gd name="connsiteY129" fmla="*/ 1304631 h 2034939"/>
                <a:gd name="connsiteX130" fmla="*/ 2019817 w 2070601"/>
                <a:gd name="connsiteY130" fmla="*/ 1292794 h 2034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2070601" h="2034939">
                  <a:moveTo>
                    <a:pt x="2019649" y="1292878"/>
                  </a:moveTo>
                  <a:cubicBezTo>
                    <a:pt x="2022923" y="1282552"/>
                    <a:pt x="2025776" y="1275249"/>
                    <a:pt x="2029385" y="1268281"/>
                  </a:cubicBezTo>
                  <a:cubicBezTo>
                    <a:pt x="2031400" y="1264252"/>
                    <a:pt x="2033834" y="1260222"/>
                    <a:pt x="2036268" y="1256109"/>
                  </a:cubicBezTo>
                  <a:cubicBezTo>
                    <a:pt x="2042983" y="1244692"/>
                    <a:pt x="2049949" y="1232855"/>
                    <a:pt x="2049949" y="1220851"/>
                  </a:cubicBezTo>
                  <a:cubicBezTo>
                    <a:pt x="2049949" y="1213463"/>
                    <a:pt x="2048187" y="1206832"/>
                    <a:pt x="2046340" y="1199780"/>
                  </a:cubicBezTo>
                  <a:cubicBezTo>
                    <a:pt x="2043738" y="1190042"/>
                    <a:pt x="2041136" y="1179968"/>
                    <a:pt x="2043151" y="1167712"/>
                  </a:cubicBezTo>
                  <a:cubicBezTo>
                    <a:pt x="2044829" y="1157554"/>
                    <a:pt x="2048942" y="1145718"/>
                    <a:pt x="2052048" y="1137575"/>
                  </a:cubicBezTo>
                  <a:cubicBezTo>
                    <a:pt x="2054230" y="1131866"/>
                    <a:pt x="2057671" y="1127333"/>
                    <a:pt x="2061029" y="1122968"/>
                  </a:cubicBezTo>
                  <a:cubicBezTo>
                    <a:pt x="2063631" y="1119610"/>
                    <a:pt x="2065981" y="1116420"/>
                    <a:pt x="2067660" y="1112894"/>
                  </a:cubicBezTo>
                  <a:cubicBezTo>
                    <a:pt x="2071017" y="1105843"/>
                    <a:pt x="2070598" y="1096189"/>
                    <a:pt x="2070178" y="1086787"/>
                  </a:cubicBezTo>
                  <a:cubicBezTo>
                    <a:pt x="2070010" y="1083680"/>
                    <a:pt x="2069926" y="1080658"/>
                    <a:pt x="2069926" y="1077720"/>
                  </a:cubicBezTo>
                  <a:cubicBezTo>
                    <a:pt x="2069926" y="1075202"/>
                    <a:pt x="2070094" y="1072348"/>
                    <a:pt x="2070262" y="1069325"/>
                  </a:cubicBezTo>
                  <a:cubicBezTo>
                    <a:pt x="2070682" y="1061434"/>
                    <a:pt x="2071185" y="1052452"/>
                    <a:pt x="2068583" y="1046911"/>
                  </a:cubicBezTo>
                  <a:cubicBezTo>
                    <a:pt x="2064638" y="1038684"/>
                    <a:pt x="2057923" y="1032136"/>
                    <a:pt x="2050705" y="1025253"/>
                  </a:cubicBezTo>
                  <a:cubicBezTo>
                    <a:pt x="2038618" y="1013500"/>
                    <a:pt x="2026028" y="1001412"/>
                    <a:pt x="2027958" y="980761"/>
                  </a:cubicBezTo>
                  <a:cubicBezTo>
                    <a:pt x="2028210" y="977906"/>
                    <a:pt x="2028714" y="974884"/>
                    <a:pt x="2029302" y="971610"/>
                  </a:cubicBezTo>
                  <a:cubicBezTo>
                    <a:pt x="2030476" y="964475"/>
                    <a:pt x="2031820" y="956332"/>
                    <a:pt x="2030225" y="949868"/>
                  </a:cubicBezTo>
                  <a:cubicBezTo>
                    <a:pt x="2028798" y="943991"/>
                    <a:pt x="2023258" y="938451"/>
                    <a:pt x="2017886" y="933078"/>
                  </a:cubicBezTo>
                  <a:cubicBezTo>
                    <a:pt x="2015956" y="931063"/>
                    <a:pt x="2013941" y="929133"/>
                    <a:pt x="2012263" y="927202"/>
                  </a:cubicBezTo>
                  <a:lnTo>
                    <a:pt x="2010164" y="924851"/>
                  </a:lnTo>
                  <a:cubicBezTo>
                    <a:pt x="2004121" y="918135"/>
                    <a:pt x="1997322" y="910580"/>
                    <a:pt x="1993713" y="902269"/>
                  </a:cubicBezTo>
                  <a:cubicBezTo>
                    <a:pt x="1991111" y="896309"/>
                    <a:pt x="1990104" y="887327"/>
                    <a:pt x="1989264" y="879352"/>
                  </a:cubicBezTo>
                  <a:cubicBezTo>
                    <a:pt x="1988929" y="875994"/>
                    <a:pt x="1988509" y="872804"/>
                    <a:pt x="1988089" y="870201"/>
                  </a:cubicBezTo>
                  <a:cubicBezTo>
                    <a:pt x="1987418" y="866508"/>
                    <a:pt x="1987586" y="862730"/>
                    <a:pt x="1987670" y="859036"/>
                  </a:cubicBezTo>
                  <a:cubicBezTo>
                    <a:pt x="1987670" y="857357"/>
                    <a:pt x="1987754" y="855762"/>
                    <a:pt x="1987754" y="854251"/>
                  </a:cubicBezTo>
                  <a:lnTo>
                    <a:pt x="1983641" y="594181"/>
                  </a:lnTo>
                  <a:lnTo>
                    <a:pt x="1951745" y="594181"/>
                  </a:lnTo>
                  <a:cubicBezTo>
                    <a:pt x="1947968" y="594181"/>
                    <a:pt x="1938316" y="593846"/>
                    <a:pt x="1930426" y="590488"/>
                  </a:cubicBezTo>
                  <a:cubicBezTo>
                    <a:pt x="1927908" y="589397"/>
                    <a:pt x="1926145" y="587718"/>
                    <a:pt x="1924550" y="586207"/>
                  </a:cubicBezTo>
                  <a:cubicBezTo>
                    <a:pt x="1923795" y="585535"/>
                    <a:pt x="1923039" y="584779"/>
                    <a:pt x="1922200" y="584108"/>
                  </a:cubicBezTo>
                  <a:cubicBezTo>
                    <a:pt x="1920857" y="583101"/>
                    <a:pt x="1919514" y="582009"/>
                    <a:pt x="1918171" y="580918"/>
                  </a:cubicBezTo>
                  <a:cubicBezTo>
                    <a:pt x="1916828" y="579827"/>
                    <a:pt x="1915485" y="578735"/>
                    <a:pt x="1914142" y="577728"/>
                  </a:cubicBezTo>
                  <a:cubicBezTo>
                    <a:pt x="1911792" y="576133"/>
                    <a:pt x="1908687" y="575461"/>
                    <a:pt x="1905329" y="574790"/>
                  </a:cubicBezTo>
                  <a:lnTo>
                    <a:pt x="1903734" y="574454"/>
                  </a:lnTo>
                  <a:cubicBezTo>
                    <a:pt x="1895509" y="572691"/>
                    <a:pt x="1890137" y="571348"/>
                    <a:pt x="1882247" y="566227"/>
                  </a:cubicBezTo>
                  <a:cubicBezTo>
                    <a:pt x="1874945" y="561358"/>
                    <a:pt x="1866887" y="555230"/>
                    <a:pt x="1857738" y="547423"/>
                  </a:cubicBezTo>
                  <a:cubicBezTo>
                    <a:pt x="1854045" y="544317"/>
                    <a:pt x="1849680" y="542302"/>
                    <a:pt x="1845064" y="540203"/>
                  </a:cubicBezTo>
                  <a:cubicBezTo>
                    <a:pt x="1842042" y="538860"/>
                    <a:pt x="1839020" y="537433"/>
                    <a:pt x="1836166" y="535754"/>
                  </a:cubicBezTo>
                  <a:cubicBezTo>
                    <a:pt x="1833397" y="534159"/>
                    <a:pt x="1830627" y="532396"/>
                    <a:pt x="1827773" y="530633"/>
                  </a:cubicBezTo>
                  <a:cubicBezTo>
                    <a:pt x="1822989" y="527611"/>
                    <a:pt x="1818037" y="524505"/>
                    <a:pt x="1813252" y="522322"/>
                  </a:cubicBezTo>
                  <a:cubicBezTo>
                    <a:pt x="1797221" y="515019"/>
                    <a:pt x="1773803" y="513088"/>
                    <a:pt x="1758694" y="517789"/>
                  </a:cubicBezTo>
                  <a:cubicBezTo>
                    <a:pt x="1750972" y="520224"/>
                    <a:pt x="1743418" y="523078"/>
                    <a:pt x="1735276" y="526100"/>
                  </a:cubicBezTo>
                  <a:cubicBezTo>
                    <a:pt x="1723358" y="530633"/>
                    <a:pt x="1710935" y="535250"/>
                    <a:pt x="1698429" y="538272"/>
                  </a:cubicBezTo>
                  <a:cubicBezTo>
                    <a:pt x="1690875" y="540119"/>
                    <a:pt x="1683572" y="542470"/>
                    <a:pt x="1676522" y="544820"/>
                  </a:cubicBezTo>
                  <a:cubicBezTo>
                    <a:pt x="1664855" y="548598"/>
                    <a:pt x="1652684" y="552544"/>
                    <a:pt x="1639423" y="554139"/>
                  </a:cubicBezTo>
                  <a:cubicBezTo>
                    <a:pt x="1637660" y="554390"/>
                    <a:pt x="1635813" y="554642"/>
                    <a:pt x="1633967" y="554894"/>
                  </a:cubicBezTo>
                  <a:cubicBezTo>
                    <a:pt x="1625153" y="556069"/>
                    <a:pt x="1616005" y="557329"/>
                    <a:pt x="1607191" y="555062"/>
                  </a:cubicBezTo>
                  <a:cubicBezTo>
                    <a:pt x="1600561" y="553383"/>
                    <a:pt x="1594685" y="549605"/>
                    <a:pt x="1589061" y="545996"/>
                  </a:cubicBezTo>
                  <a:cubicBezTo>
                    <a:pt x="1585620" y="543813"/>
                    <a:pt x="1582346" y="541714"/>
                    <a:pt x="1579073" y="540119"/>
                  </a:cubicBezTo>
                  <a:cubicBezTo>
                    <a:pt x="1557166" y="529710"/>
                    <a:pt x="1539120" y="528199"/>
                    <a:pt x="1520486" y="535083"/>
                  </a:cubicBezTo>
                  <a:cubicBezTo>
                    <a:pt x="1516961" y="536425"/>
                    <a:pt x="1513184" y="538524"/>
                    <a:pt x="1509575" y="540623"/>
                  </a:cubicBezTo>
                  <a:cubicBezTo>
                    <a:pt x="1504371" y="543561"/>
                    <a:pt x="1499083" y="546667"/>
                    <a:pt x="1493627" y="547758"/>
                  </a:cubicBezTo>
                  <a:cubicBezTo>
                    <a:pt x="1478770" y="550697"/>
                    <a:pt x="1463242" y="540959"/>
                    <a:pt x="1454933" y="535670"/>
                  </a:cubicBezTo>
                  <a:cubicBezTo>
                    <a:pt x="1452583" y="534159"/>
                    <a:pt x="1450233" y="532564"/>
                    <a:pt x="1447882" y="530885"/>
                  </a:cubicBezTo>
                  <a:cubicBezTo>
                    <a:pt x="1441503" y="526436"/>
                    <a:pt x="1434956" y="521819"/>
                    <a:pt x="1427990" y="520475"/>
                  </a:cubicBezTo>
                  <a:cubicBezTo>
                    <a:pt x="1420771" y="519048"/>
                    <a:pt x="1411622" y="520056"/>
                    <a:pt x="1403481" y="520979"/>
                  </a:cubicBezTo>
                  <a:cubicBezTo>
                    <a:pt x="1401550" y="521231"/>
                    <a:pt x="1399703" y="521399"/>
                    <a:pt x="1397941" y="521567"/>
                  </a:cubicBezTo>
                  <a:cubicBezTo>
                    <a:pt x="1376034" y="523665"/>
                    <a:pt x="1366885" y="509982"/>
                    <a:pt x="1357904" y="496718"/>
                  </a:cubicBezTo>
                  <a:cubicBezTo>
                    <a:pt x="1354378" y="491514"/>
                    <a:pt x="1350769" y="486141"/>
                    <a:pt x="1346237" y="481356"/>
                  </a:cubicBezTo>
                  <a:cubicBezTo>
                    <a:pt x="1334486" y="468932"/>
                    <a:pt x="1314174" y="476235"/>
                    <a:pt x="1296211" y="482699"/>
                  </a:cubicBezTo>
                  <a:cubicBezTo>
                    <a:pt x="1288741" y="485385"/>
                    <a:pt x="1281690" y="487904"/>
                    <a:pt x="1275479" y="488995"/>
                  </a:cubicBezTo>
                  <a:cubicBezTo>
                    <a:pt x="1262637" y="491178"/>
                    <a:pt x="1255839" y="485553"/>
                    <a:pt x="1249292" y="480097"/>
                  </a:cubicBezTo>
                  <a:cubicBezTo>
                    <a:pt x="1247025" y="478166"/>
                    <a:pt x="1244591" y="476235"/>
                    <a:pt x="1241905" y="474472"/>
                  </a:cubicBezTo>
                  <a:cubicBezTo>
                    <a:pt x="1236701" y="471114"/>
                    <a:pt x="1229903" y="470443"/>
                    <a:pt x="1222684" y="469687"/>
                  </a:cubicBezTo>
                  <a:cubicBezTo>
                    <a:pt x="1217312" y="469100"/>
                    <a:pt x="1211689" y="468596"/>
                    <a:pt x="1206317" y="466833"/>
                  </a:cubicBezTo>
                  <a:cubicBezTo>
                    <a:pt x="1193055" y="462468"/>
                    <a:pt x="1188439" y="456843"/>
                    <a:pt x="1182395" y="445091"/>
                  </a:cubicBezTo>
                  <a:cubicBezTo>
                    <a:pt x="1181640" y="443579"/>
                    <a:pt x="1180968" y="442068"/>
                    <a:pt x="1180297" y="440641"/>
                  </a:cubicBezTo>
                  <a:cubicBezTo>
                    <a:pt x="1178870" y="437535"/>
                    <a:pt x="1177695" y="434765"/>
                    <a:pt x="1175513" y="432414"/>
                  </a:cubicBezTo>
                  <a:cubicBezTo>
                    <a:pt x="1174421" y="431239"/>
                    <a:pt x="1172995" y="430232"/>
                    <a:pt x="1171484" y="429224"/>
                  </a:cubicBezTo>
                  <a:cubicBezTo>
                    <a:pt x="1169133" y="427629"/>
                    <a:pt x="1166531" y="425867"/>
                    <a:pt x="1164769" y="423012"/>
                  </a:cubicBezTo>
                  <a:cubicBezTo>
                    <a:pt x="1159145" y="422928"/>
                    <a:pt x="1153270" y="423264"/>
                    <a:pt x="1147059" y="423684"/>
                  </a:cubicBezTo>
                  <a:cubicBezTo>
                    <a:pt x="1130104" y="424775"/>
                    <a:pt x="1112561" y="426034"/>
                    <a:pt x="1098040" y="415709"/>
                  </a:cubicBezTo>
                  <a:cubicBezTo>
                    <a:pt x="1084107" y="405803"/>
                    <a:pt x="1066649" y="391868"/>
                    <a:pt x="1063711" y="371217"/>
                  </a:cubicBezTo>
                  <a:lnTo>
                    <a:pt x="1074790" y="27115"/>
                  </a:lnTo>
                  <a:lnTo>
                    <a:pt x="633963" y="0"/>
                  </a:lnTo>
                  <a:lnTo>
                    <a:pt x="568073" y="852489"/>
                  </a:lnTo>
                  <a:lnTo>
                    <a:pt x="1679" y="798090"/>
                  </a:lnTo>
                  <a:lnTo>
                    <a:pt x="0" y="839980"/>
                  </a:lnTo>
                  <a:cubicBezTo>
                    <a:pt x="7722" y="843926"/>
                    <a:pt x="15108" y="848543"/>
                    <a:pt x="20900" y="854419"/>
                  </a:cubicBezTo>
                  <a:cubicBezTo>
                    <a:pt x="32819" y="866340"/>
                    <a:pt x="38442" y="881618"/>
                    <a:pt x="50697" y="893455"/>
                  </a:cubicBezTo>
                  <a:cubicBezTo>
                    <a:pt x="65302" y="907474"/>
                    <a:pt x="82508" y="913183"/>
                    <a:pt x="96525" y="928461"/>
                  </a:cubicBezTo>
                  <a:cubicBezTo>
                    <a:pt x="113144" y="946594"/>
                    <a:pt x="126994" y="967497"/>
                    <a:pt x="147222" y="981936"/>
                  </a:cubicBezTo>
                  <a:cubicBezTo>
                    <a:pt x="177439" y="1003594"/>
                    <a:pt x="200521" y="1030290"/>
                    <a:pt x="220834" y="1061434"/>
                  </a:cubicBezTo>
                  <a:cubicBezTo>
                    <a:pt x="238292" y="1088213"/>
                    <a:pt x="252561" y="1114153"/>
                    <a:pt x="260031" y="1145466"/>
                  </a:cubicBezTo>
                  <a:cubicBezTo>
                    <a:pt x="263137" y="1158562"/>
                    <a:pt x="263221" y="1173168"/>
                    <a:pt x="266242" y="1185929"/>
                  </a:cubicBezTo>
                  <a:cubicBezTo>
                    <a:pt x="270019" y="1201963"/>
                    <a:pt x="275223" y="1219760"/>
                    <a:pt x="280511" y="1234618"/>
                  </a:cubicBezTo>
                  <a:cubicBezTo>
                    <a:pt x="289996" y="1261230"/>
                    <a:pt x="308378" y="1292962"/>
                    <a:pt x="333307" y="1305890"/>
                  </a:cubicBezTo>
                  <a:cubicBezTo>
                    <a:pt x="348835" y="1313949"/>
                    <a:pt x="365874" y="1320413"/>
                    <a:pt x="379639" y="1332501"/>
                  </a:cubicBezTo>
                  <a:cubicBezTo>
                    <a:pt x="388620" y="1340476"/>
                    <a:pt x="395335" y="1350718"/>
                    <a:pt x="406079" y="1356594"/>
                  </a:cubicBezTo>
                  <a:cubicBezTo>
                    <a:pt x="414976" y="1361463"/>
                    <a:pt x="424880" y="1362974"/>
                    <a:pt x="433693" y="1368599"/>
                  </a:cubicBezTo>
                  <a:cubicBezTo>
                    <a:pt x="452411" y="1380603"/>
                    <a:pt x="466428" y="1402429"/>
                    <a:pt x="488671" y="1408558"/>
                  </a:cubicBezTo>
                  <a:cubicBezTo>
                    <a:pt x="522161" y="1417708"/>
                    <a:pt x="544236" y="1376993"/>
                    <a:pt x="554056" y="1352061"/>
                  </a:cubicBezTo>
                  <a:cubicBezTo>
                    <a:pt x="565304" y="1323435"/>
                    <a:pt x="567402" y="1283895"/>
                    <a:pt x="596108" y="1267778"/>
                  </a:cubicBezTo>
                  <a:cubicBezTo>
                    <a:pt x="623974" y="1252163"/>
                    <a:pt x="656793" y="1260558"/>
                    <a:pt x="686002" y="1263580"/>
                  </a:cubicBezTo>
                  <a:cubicBezTo>
                    <a:pt x="721675" y="1267190"/>
                    <a:pt x="778079" y="1260894"/>
                    <a:pt x="805610" y="1284483"/>
                  </a:cubicBezTo>
                  <a:cubicBezTo>
                    <a:pt x="836834" y="1311178"/>
                    <a:pt x="840779" y="1362387"/>
                    <a:pt x="871247" y="1393279"/>
                  </a:cubicBezTo>
                  <a:cubicBezTo>
                    <a:pt x="901128" y="1423584"/>
                    <a:pt x="928827" y="1464887"/>
                    <a:pt x="948384" y="1503418"/>
                  </a:cubicBezTo>
                  <a:cubicBezTo>
                    <a:pt x="960387" y="1527176"/>
                    <a:pt x="969032" y="1551688"/>
                    <a:pt x="980363" y="1574270"/>
                  </a:cubicBezTo>
                  <a:cubicBezTo>
                    <a:pt x="989680" y="1592823"/>
                    <a:pt x="1001347" y="1612466"/>
                    <a:pt x="1013601" y="1628417"/>
                  </a:cubicBezTo>
                  <a:cubicBezTo>
                    <a:pt x="1024093" y="1641932"/>
                    <a:pt x="1036600" y="1665605"/>
                    <a:pt x="1046840" y="1679625"/>
                  </a:cubicBezTo>
                  <a:cubicBezTo>
                    <a:pt x="1057584" y="1694315"/>
                    <a:pt x="1073112" y="1702794"/>
                    <a:pt x="1083687" y="1716897"/>
                  </a:cubicBezTo>
                  <a:cubicBezTo>
                    <a:pt x="1107357" y="1748630"/>
                    <a:pt x="1104084" y="1803447"/>
                    <a:pt x="1113988" y="1838705"/>
                  </a:cubicBezTo>
                  <a:cubicBezTo>
                    <a:pt x="1119696" y="1858937"/>
                    <a:pt x="1128509" y="1876734"/>
                    <a:pt x="1139252" y="1895790"/>
                  </a:cubicBezTo>
                  <a:cubicBezTo>
                    <a:pt x="1150500" y="1915853"/>
                    <a:pt x="1149996" y="1933147"/>
                    <a:pt x="1168714" y="1943388"/>
                  </a:cubicBezTo>
                  <a:cubicBezTo>
                    <a:pt x="1191544" y="1955981"/>
                    <a:pt x="1223607" y="1943136"/>
                    <a:pt x="1246438" y="1953882"/>
                  </a:cubicBezTo>
                  <a:cubicBezTo>
                    <a:pt x="1258944" y="1959758"/>
                    <a:pt x="1255251" y="1967985"/>
                    <a:pt x="1262470" y="1975120"/>
                  </a:cubicBezTo>
                  <a:cubicBezTo>
                    <a:pt x="1268597" y="1981248"/>
                    <a:pt x="1276906" y="1983347"/>
                    <a:pt x="1284209" y="1987544"/>
                  </a:cubicBezTo>
                  <a:cubicBezTo>
                    <a:pt x="1303178" y="1998626"/>
                    <a:pt x="1311404" y="2006601"/>
                    <a:pt x="1334486" y="2006517"/>
                  </a:cubicBezTo>
                  <a:cubicBezTo>
                    <a:pt x="1355637" y="2006517"/>
                    <a:pt x="1378636" y="2003579"/>
                    <a:pt x="1397521" y="2014408"/>
                  </a:cubicBezTo>
                  <a:cubicBezTo>
                    <a:pt x="1416574" y="2025321"/>
                    <a:pt x="1420855" y="2039004"/>
                    <a:pt x="1447882" y="2033800"/>
                  </a:cubicBezTo>
                  <a:cubicBezTo>
                    <a:pt x="1472811" y="2029015"/>
                    <a:pt x="1473734" y="2006517"/>
                    <a:pt x="1464585" y="1985530"/>
                  </a:cubicBezTo>
                  <a:cubicBezTo>
                    <a:pt x="1456444" y="1966894"/>
                    <a:pt x="1449729" y="1955728"/>
                    <a:pt x="1445280" y="1935749"/>
                  </a:cubicBezTo>
                  <a:cubicBezTo>
                    <a:pt x="1440664" y="1915182"/>
                    <a:pt x="1433361" y="1897385"/>
                    <a:pt x="1426899" y="1876902"/>
                  </a:cubicBezTo>
                  <a:cubicBezTo>
                    <a:pt x="1419764" y="1854236"/>
                    <a:pt x="1422282" y="1841056"/>
                    <a:pt x="1426479" y="1819733"/>
                  </a:cubicBezTo>
                  <a:cubicBezTo>
                    <a:pt x="1432187" y="1791191"/>
                    <a:pt x="1417246" y="1801181"/>
                    <a:pt x="1408181" y="1777340"/>
                  </a:cubicBezTo>
                  <a:cubicBezTo>
                    <a:pt x="1397689" y="1749805"/>
                    <a:pt x="1456360" y="1754506"/>
                    <a:pt x="1462571" y="1721095"/>
                  </a:cubicBezTo>
                  <a:cubicBezTo>
                    <a:pt x="1465341" y="1705984"/>
                    <a:pt x="1458290" y="1687600"/>
                    <a:pt x="1462487" y="1672825"/>
                  </a:cubicBezTo>
                  <a:cubicBezTo>
                    <a:pt x="1467523" y="1654944"/>
                    <a:pt x="1482631" y="1650579"/>
                    <a:pt x="1494550" y="1638826"/>
                  </a:cubicBezTo>
                  <a:cubicBezTo>
                    <a:pt x="1503783" y="1629760"/>
                    <a:pt x="1508400" y="1617084"/>
                    <a:pt x="1517045" y="1609360"/>
                  </a:cubicBezTo>
                  <a:cubicBezTo>
                    <a:pt x="1528796" y="1598867"/>
                    <a:pt x="1543401" y="1601050"/>
                    <a:pt x="1554732" y="1595341"/>
                  </a:cubicBezTo>
                  <a:cubicBezTo>
                    <a:pt x="1586711" y="1579391"/>
                    <a:pt x="1564468" y="1533640"/>
                    <a:pt x="1588642" y="1515759"/>
                  </a:cubicBezTo>
                  <a:cubicBezTo>
                    <a:pt x="1612815" y="1497878"/>
                    <a:pt x="1647312" y="1521719"/>
                    <a:pt x="1678117" y="1519201"/>
                  </a:cubicBezTo>
                  <a:cubicBezTo>
                    <a:pt x="1709760" y="1516514"/>
                    <a:pt x="1734437" y="1500481"/>
                    <a:pt x="1755673" y="1480249"/>
                  </a:cubicBezTo>
                  <a:cubicBezTo>
                    <a:pt x="1773719" y="1463040"/>
                    <a:pt x="1792268" y="1448265"/>
                    <a:pt x="1814847" y="1436680"/>
                  </a:cubicBezTo>
                  <a:cubicBezTo>
                    <a:pt x="1832138" y="1427782"/>
                    <a:pt x="1856143" y="1422409"/>
                    <a:pt x="1862774" y="1399659"/>
                  </a:cubicBezTo>
                  <a:cubicBezTo>
                    <a:pt x="1870580" y="1372964"/>
                    <a:pt x="1825003" y="1296068"/>
                    <a:pt x="1882667" y="1313529"/>
                  </a:cubicBezTo>
                  <a:cubicBezTo>
                    <a:pt x="1909946" y="1321756"/>
                    <a:pt x="1896768" y="1347024"/>
                    <a:pt x="1916661" y="1360288"/>
                  </a:cubicBezTo>
                  <a:cubicBezTo>
                    <a:pt x="1936217" y="1373300"/>
                    <a:pt x="1956949" y="1349039"/>
                    <a:pt x="1970799" y="1339637"/>
                  </a:cubicBezTo>
                  <a:cubicBezTo>
                    <a:pt x="1982382" y="1331829"/>
                    <a:pt x="1999001" y="1324106"/>
                    <a:pt x="2014445" y="1318902"/>
                  </a:cubicBezTo>
                  <a:cubicBezTo>
                    <a:pt x="2015872" y="1315292"/>
                    <a:pt x="2016795" y="1309751"/>
                    <a:pt x="2017551" y="1304631"/>
                  </a:cubicBezTo>
                  <a:cubicBezTo>
                    <a:pt x="2018222" y="1300181"/>
                    <a:pt x="2018810" y="1295984"/>
                    <a:pt x="2019817" y="129279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652C7892-B0DA-B738-7CC9-FCA939379A22}"/>
                </a:ext>
              </a:extLst>
            </p:cNvPr>
            <p:cNvSpPr/>
            <p:nvPr/>
          </p:nvSpPr>
          <p:spPr>
            <a:xfrm>
              <a:off x="5773324" y="2028690"/>
              <a:ext cx="796277" cy="1276067"/>
            </a:xfrm>
            <a:custGeom>
              <a:avLst/>
              <a:gdLst>
                <a:gd name="connsiteX0" fmla="*/ 173494 w 881571"/>
                <a:gd name="connsiteY0" fmla="*/ 536174 h 1412755"/>
                <a:gd name="connsiteX1" fmla="*/ 179034 w 881571"/>
                <a:gd name="connsiteY1" fmla="*/ 544317 h 1412755"/>
                <a:gd name="connsiteX2" fmla="*/ 192883 w 881571"/>
                <a:gd name="connsiteY2" fmla="*/ 556237 h 1412755"/>
                <a:gd name="connsiteX3" fmla="*/ 215042 w 881571"/>
                <a:gd name="connsiteY3" fmla="*/ 578064 h 1412755"/>
                <a:gd name="connsiteX4" fmla="*/ 202620 w 881571"/>
                <a:gd name="connsiteY4" fmla="*/ 635232 h 1412755"/>
                <a:gd name="connsiteX5" fmla="*/ 190113 w 881571"/>
                <a:gd name="connsiteY5" fmla="*/ 650175 h 1412755"/>
                <a:gd name="connsiteX6" fmla="*/ 168961 w 881571"/>
                <a:gd name="connsiteY6" fmla="*/ 681655 h 1412755"/>
                <a:gd name="connsiteX7" fmla="*/ 133625 w 881571"/>
                <a:gd name="connsiteY7" fmla="*/ 731940 h 1412755"/>
                <a:gd name="connsiteX8" fmla="*/ 112977 w 881571"/>
                <a:gd name="connsiteY8" fmla="*/ 755109 h 1412755"/>
                <a:gd name="connsiteX9" fmla="*/ 81501 w 881571"/>
                <a:gd name="connsiteY9" fmla="*/ 793641 h 1412755"/>
                <a:gd name="connsiteX10" fmla="*/ 80494 w 881571"/>
                <a:gd name="connsiteY10" fmla="*/ 795404 h 1412755"/>
                <a:gd name="connsiteX11" fmla="*/ 74954 w 881571"/>
                <a:gd name="connsiteY11" fmla="*/ 825373 h 1412755"/>
                <a:gd name="connsiteX12" fmla="*/ 86537 w 881571"/>
                <a:gd name="connsiteY12" fmla="*/ 832761 h 1412755"/>
                <a:gd name="connsiteX13" fmla="*/ 105003 w 881571"/>
                <a:gd name="connsiteY13" fmla="*/ 848879 h 1412755"/>
                <a:gd name="connsiteX14" fmla="*/ 97533 w 881571"/>
                <a:gd name="connsiteY14" fmla="*/ 886235 h 1412755"/>
                <a:gd name="connsiteX15" fmla="*/ 93084 w 881571"/>
                <a:gd name="connsiteY15" fmla="*/ 894462 h 1412755"/>
                <a:gd name="connsiteX16" fmla="*/ 82340 w 881571"/>
                <a:gd name="connsiteY16" fmla="*/ 925691 h 1412755"/>
                <a:gd name="connsiteX17" fmla="*/ 77640 w 881571"/>
                <a:gd name="connsiteY17" fmla="*/ 941137 h 1412755"/>
                <a:gd name="connsiteX18" fmla="*/ 21404 w 881571"/>
                <a:gd name="connsiteY18" fmla="*/ 1166117 h 1412755"/>
                <a:gd name="connsiteX19" fmla="*/ 10912 w 881571"/>
                <a:gd name="connsiteY19" fmla="*/ 1214387 h 1412755"/>
                <a:gd name="connsiteX20" fmla="*/ 0 w 881571"/>
                <a:gd name="connsiteY20" fmla="*/ 1267945 h 1412755"/>
                <a:gd name="connsiteX21" fmla="*/ 807541 w 881571"/>
                <a:gd name="connsiteY21" fmla="*/ 1412755 h 1412755"/>
                <a:gd name="connsiteX22" fmla="*/ 881571 w 881571"/>
                <a:gd name="connsiteY22" fmla="*/ 942312 h 1412755"/>
                <a:gd name="connsiteX23" fmla="*/ 861511 w 881571"/>
                <a:gd name="connsiteY23" fmla="*/ 922249 h 1412755"/>
                <a:gd name="connsiteX24" fmla="*/ 861511 w 881571"/>
                <a:gd name="connsiteY24" fmla="*/ 922249 h 1412755"/>
                <a:gd name="connsiteX25" fmla="*/ 850683 w 881571"/>
                <a:gd name="connsiteY25" fmla="*/ 933750 h 1412755"/>
                <a:gd name="connsiteX26" fmla="*/ 849844 w 881571"/>
                <a:gd name="connsiteY26" fmla="*/ 936604 h 1412755"/>
                <a:gd name="connsiteX27" fmla="*/ 846906 w 881571"/>
                <a:gd name="connsiteY27" fmla="*/ 936772 h 1412755"/>
                <a:gd name="connsiteX28" fmla="*/ 731999 w 881571"/>
                <a:gd name="connsiteY28" fmla="*/ 928713 h 1412755"/>
                <a:gd name="connsiteX29" fmla="*/ 723773 w 881571"/>
                <a:gd name="connsiteY29" fmla="*/ 926782 h 1412755"/>
                <a:gd name="connsiteX30" fmla="*/ 696410 w 881571"/>
                <a:gd name="connsiteY30" fmla="*/ 923172 h 1412755"/>
                <a:gd name="connsiteX31" fmla="*/ 681470 w 881571"/>
                <a:gd name="connsiteY31" fmla="*/ 928965 h 1412755"/>
                <a:gd name="connsiteX32" fmla="*/ 665690 w 881571"/>
                <a:gd name="connsiteY32" fmla="*/ 935093 h 1412755"/>
                <a:gd name="connsiteX33" fmla="*/ 624226 w 881571"/>
                <a:gd name="connsiteY33" fmla="*/ 894378 h 1412755"/>
                <a:gd name="connsiteX34" fmla="*/ 616756 w 881571"/>
                <a:gd name="connsiteY34" fmla="*/ 870369 h 1412755"/>
                <a:gd name="connsiteX35" fmla="*/ 597619 w 881571"/>
                <a:gd name="connsiteY35" fmla="*/ 853999 h 1412755"/>
                <a:gd name="connsiteX36" fmla="*/ 583266 w 881571"/>
                <a:gd name="connsiteY36" fmla="*/ 842079 h 1412755"/>
                <a:gd name="connsiteX37" fmla="*/ 584944 w 881571"/>
                <a:gd name="connsiteY37" fmla="*/ 820253 h 1412755"/>
                <a:gd name="connsiteX38" fmla="*/ 587714 w 881571"/>
                <a:gd name="connsiteY38" fmla="*/ 804386 h 1412755"/>
                <a:gd name="connsiteX39" fmla="*/ 572438 w 881571"/>
                <a:gd name="connsiteY39" fmla="*/ 773074 h 1412755"/>
                <a:gd name="connsiteX40" fmla="*/ 554560 w 881571"/>
                <a:gd name="connsiteY40" fmla="*/ 732024 h 1412755"/>
                <a:gd name="connsiteX41" fmla="*/ 555063 w 881571"/>
                <a:gd name="connsiteY41" fmla="*/ 711288 h 1412755"/>
                <a:gd name="connsiteX42" fmla="*/ 551538 w 881571"/>
                <a:gd name="connsiteY42" fmla="*/ 677877 h 1412755"/>
                <a:gd name="connsiteX43" fmla="*/ 542054 w 881571"/>
                <a:gd name="connsiteY43" fmla="*/ 674771 h 1412755"/>
                <a:gd name="connsiteX44" fmla="*/ 520986 w 881571"/>
                <a:gd name="connsiteY44" fmla="*/ 690385 h 1412755"/>
                <a:gd name="connsiteX45" fmla="*/ 481368 w 881571"/>
                <a:gd name="connsiteY45" fmla="*/ 703649 h 1412755"/>
                <a:gd name="connsiteX46" fmla="*/ 473479 w 881571"/>
                <a:gd name="connsiteY46" fmla="*/ 626249 h 1412755"/>
                <a:gd name="connsiteX47" fmla="*/ 491441 w 881571"/>
                <a:gd name="connsiteY47" fmla="*/ 595021 h 1412755"/>
                <a:gd name="connsiteX48" fmla="*/ 506549 w 881571"/>
                <a:gd name="connsiteY48" fmla="*/ 570256 h 1412755"/>
                <a:gd name="connsiteX49" fmla="*/ 513432 w 881571"/>
                <a:gd name="connsiteY49" fmla="*/ 557245 h 1412755"/>
                <a:gd name="connsiteX50" fmla="*/ 534583 w 881571"/>
                <a:gd name="connsiteY50" fmla="*/ 495459 h 1412755"/>
                <a:gd name="connsiteX51" fmla="*/ 519307 w 881571"/>
                <a:gd name="connsiteY51" fmla="*/ 484882 h 1412755"/>
                <a:gd name="connsiteX52" fmla="*/ 506213 w 881571"/>
                <a:gd name="connsiteY52" fmla="*/ 480432 h 1412755"/>
                <a:gd name="connsiteX53" fmla="*/ 476584 w 881571"/>
                <a:gd name="connsiteY53" fmla="*/ 447861 h 1412755"/>
                <a:gd name="connsiteX54" fmla="*/ 463406 w 881571"/>
                <a:gd name="connsiteY54" fmla="*/ 420830 h 1412755"/>
                <a:gd name="connsiteX55" fmla="*/ 439988 w 881571"/>
                <a:gd name="connsiteY55" fmla="*/ 375582 h 1412755"/>
                <a:gd name="connsiteX56" fmla="*/ 421942 w 881571"/>
                <a:gd name="connsiteY56" fmla="*/ 352328 h 1412755"/>
                <a:gd name="connsiteX57" fmla="*/ 395083 w 881571"/>
                <a:gd name="connsiteY57" fmla="*/ 303807 h 1412755"/>
                <a:gd name="connsiteX58" fmla="*/ 392817 w 881571"/>
                <a:gd name="connsiteY58" fmla="*/ 274341 h 1412755"/>
                <a:gd name="connsiteX59" fmla="*/ 386186 w 881571"/>
                <a:gd name="connsiteY59" fmla="*/ 232199 h 1412755"/>
                <a:gd name="connsiteX60" fmla="*/ 369902 w 881571"/>
                <a:gd name="connsiteY60" fmla="*/ 151693 h 1412755"/>
                <a:gd name="connsiteX61" fmla="*/ 383584 w 881571"/>
                <a:gd name="connsiteY61" fmla="*/ 92342 h 1412755"/>
                <a:gd name="connsiteX62" fmla="*/ 397097 w 881571"/>
                <a:gd name="connsiteY62" fmla="*/ 22750 h 1412755"/>
                <a:gd name="connsiteX63" fmla="*/ 287310 w 881571"/>
                <a:gd name="connsiteY63" fmla="*/ 0 h 1412755"/>
                <a:gd name="connsiteX64" fmla="*/ 168374 w 881571"/>
                <a:gd name="connsiteY64" fmla="*/ 528870 h 1412755"/>
                <a:gd name="connsiteX65" fmla="*/ 173410 w 881571"/>
                <a:gd name="connsiteY65" fmla="*/ 536342 h 1412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881571" h="1412755">
                  <a:moveTo>
                    <a:pt x="173494" y="536174"/>
                  </a:moveTo>
                  <a:cubicBezTo>
                    <a:pt x="175257" y="539112"/>
                    <a:pt x="177019" y="542218"/>
                    <a:pt x="179034" y="544317"/>
                  </a:cubicBezTo>
                  <a:cubicBezTo>
                    <a:pt x="183231" y="548598"/>
                    <a:pt x="187931" y="552292"/>
                    <a:pt x="192883" y="556237"/>
                  </a:cubicBezTo>
                  <a:cubicBezTo>
                    <a:pt x="200857" y="562533"/>
                    <a:pt x="209167" y="568997"/>
                    <a:pt x="215042" y="578064"/>
                  </a:cubicBezTo>
                  <a:cubicBezTo>
                    <a:pt x="231409" y="603500"/>
                    <a:pt x="216805" y="619618"/>
                    <a:pt x="202620" y="635232"/>
                  </a:cubicBezTo>
                  <a:cubicBezTo>
                    <a:pt x="198339" y="639933"/>
                    <a:pt x="193890" y="644886"/>
                    <a:pt x="190113" y="650175"/>
                  </a:cubicBezTo>
                  <a:cubicBezTo>
                    <a:pt x="182727" y="660584"/>
                    <a:pt x="175676" y="671245"/>
                    <a:pt x="168961" y="681655"/>
                  </a:cubicBezTo>
                  <a:cubicBezTo>
                    <a:pt x="158050" y="698361"/>
                    <a:pt x="146719" y="715570"/>
                    <a:pt x="133625" y="731940"/>
                  </a:cubicBezTo>
                  <a:cubicBezTo>
                    <a:pt x="127414" y="739747"/>
                    <a:pt x="120111" y="747554"/>
                    <a:pt x="112977" y="755109"/>
                  </a:cubicBezTo>
                  <a:cubicBezTo>
                    <a:pt x="101310" y="767533"/>
                    <a:pt x="89307" y="780293"/>
                    <a:pt x="81501" y="793641"/>
                  </a:cubicBezTo>
                  <a:lnTo>
                    <a:pt x="80494" y="795404"/>
                  </a:lnTo>
                  <a:cubicBezTo>
                    <a:pt x="73192" y="807912"/>
                    <a:pt x="68491" y="817314"/>
                    <a:pt x="74954" y="825373"/>
                  </a:cubicBezTo>
                  <a:cubicBezTo>
                    <a:pt x="77640" y="828731"/>
                    <a:pt x="82005" y="830662"/>
                    <a:pt x="86537" y="832761"/>
                  </a:cubicBezTo>
                  <a:cubicBezTo>
                    <a:pt x="93504" y="835951"/>
                    <a:pt x="101394" y="839560"/>
                    <a:pt x="105003" y="848879"/>
                  </a:cubicBezTo>
                  <a:cubicBezTo>
                    <a:pt x="110627" y="863234"/>
                    <a:pt x="103660" y="875406"/>
                    <a:pt x="97533" y="886235"/>
                  </a:cubicBezTo>
                  <a:cubicBezTo>
                    <a:pt x="95938" y="889006"/>
                    <a:pt x="94343" y="891776"/>
                    <a:pt x="93084" y="894462"/>
                  </a:cubicBezTo>
                  <a:cubicBezTo>
                    <a:pt x="88803" y="903529"/>
                    <a:pt x="85530" y="914778"/>
                    <a:pt x="82340" y="925691"/>
                  </a:cubicBezTo>
                  <a:cubicBezTo>
                    <a:pt x="80830" y="930979"/>
                    <a:pt x="79319" y="936184"/>
                    <a:pt x="77640" y="941137"/>
                  </a:cubicBezTo>
                  <a:cubicBezTo>
                    <a:pt x="48766" y="1029702"/>
                    <a:pt x="30888" y="1101225"/>
                    <a:pt x="21404" y="1166117"/>
                  </a:cubicBezTo>
                  <a:cubicBezTo>
                    <a:pt x="18969" y="1182571"/>
                    <a:pt x="14857" y="1198689"/>
                    <a:pt x="10912" y="1214387"/>
                  </a:cubicBezTo>
                  <a:cubicBezTo>
                    <a:pt x="6211" y="1232687"/>
                    <a:pt x="1930" y="1250064"/>
                    <a:pt x="0" y="1267945"/>
                  </a:cubicBezTo>
                  <a:cubicBezTo>
                    <a:pt x="240223" y="1320916"/>
                    <a:pt x="513516" y="1372460"/>
                    <a:pt x="807541" y="1412755"/>
                  </a:cubicBezTo>
                  <a:lnTo>
                    <a:pt x="881571" y="942312"/>
                  </a:lnTo>
                  <a:cubicBezTo>
                    <a:pt x="877207" y="929720"/>
                    <a:pt x="868058" y="922249"/>
                    <a:pt x="861511" y="922249"/>
                  </a:cubicBezTo>
                  <a:lnTo>
                    <a:pt x="861511" y="922249"/>
                  </a:lnTo>
                  <a:cubicBezTo>
                    <a:pt x="855468" y="922249"/>
                    <a:pt x="852278" y="928545"/>
                    <a:pt x="850683" y="933750"/>
                  </a:cubicBezTo>
                  <a:lnTo>
                    <a:pt x="849844" y="936604"/>
                  </a:lnTo>
                  <a:lnTo>
                    <a:pt x="846906" y="936772"/>
                  </a:lnTo>
                  <a:cubicBezTo>
                    <a:pt x="807541" y="938535"/>
                    <a:pt x="765657" y="935597"/>
                    <a:pt x="731999" y="928713"/>
                  </a:cubicBezTo>
                  <a:cubicBezTo>
                    <a:pt x="729481" y="928209"/>
                    <a:pt x="726711" y="927538"/>
                    <a:pt x="723773" y="926782"/>
                  </a:cubicBezTo>
                  <a:cubicBezTo>
                    <a:pt x="715044" y="924599"/>
                    <a:pt x="705140" y="922165"/>
                    <a:pt x="696410" y="923172"/>
                  </a:cubicBezTo>
                  <a:cubicBezTo>
                    <a:pt x="691039" y="923844"/>
                    <a:pt x="686422" y="926362"/>
                    <a:pt x="681470" y="928965"/>
                  </a:cubicBezTo>
                  <a:cubicBezTo>
                    <a:pt x="676602" y="931651"/>
                    <a:pt x="671566" y="934337"/>
                    <a:pt x="665690" y="935093"/>
                  </a:cubicBezTo>
                  <a:cubicBezTo>
                    <a:pt x="634802" y="939122"/>
                    <a:pt x="629178" y="915365"/>
                    <a:pt x="624226" y="894378"/>
                  </a:cubicBezTo>
                  <a:cubicBezTo>
                    <a:pt x="622296" y="886067"/>
                    <a:pt x="620197" y="877421"/>
                    <a:pt x="616756" y="870369"/>
                  </a:cubicBezTo>
                  <a:cubicBezTo>
                    <a:pt x="613482" y="863737"/>
                    <a:pt x="605089" y="858533"/>
                    <a:pt x="597619" y="853999"/>
                  </a:cubicBezTo>
                  <a:cubicBezTo>
                    <a:pt x="591072" y="849970"/>
                    <a:pt x="585448" y="846528"/>
                    <a:pt x="583266" y="842079"/>
                  </a:cubicBezTo>
                  <a:cubicBezTo>
                    <a:pt x="580076" y="835615"/>
                    <a:pt x="582594" y="827808"/>
                    <a:pt x="584944" y="820253"/>
                  </a:cubicBezTo>
                  <a:cubicBezTo>
                    <a:pt x="586707" y="814628"/>
                    <a:pt x="588554" y="808836"/>
                    <a:pt x="587714" y="804386"/>
                  </a:cubicBezTo>
                  <a:cubicBezTo>
                    <a:pt x="585532" y="792130"/>
                    <a:pt x="579153" y="782896"/>
                    <a:pt x="572438" y="773074"/>
                  </a:cubicBezTo>
                  <a:cubicBezTo>
                    <a:pt x="564464" y="761489"/>
                    <a:pt x="556239" y="749485"/>
                    <a:pt x="554560" y="732024"/>
                  </a:cubicBezTo>
                  <a:cubicBezTo>
                    <a:pt x="553972" y="725979"/>
                    <a:pt x="554560" y="718844"/>
                    <a:pt x="555063" y="711288"/>
                  </a:cubicBezTo>
                  <a:cubicBezTo>
                    <a:pt x="556071" y="698361"/>
                    <a:pt x="557162" y="683754"/>
                    <a:pt x="551538" y="677877"/>
                  </a:cubicBezTo>
                  <a:cubicBezTo>
                    <a:pt x="549440" y="675695"/>
                    <a:pt x="546250" y="674603"/>
                    <a:pt x="542054" y="674771"/>
                  </a:cubicBezTo>
                  <a:cubicBezTo>
                    <a:pt x="534332" y="674939"/>
                    <a:pt x="527869" y="682494"/>
                    <a:pt x="520986" y="690385"/>
                  </a:cubicBezTo>
                  <a:cubicBezTo>
                    <a:pt x="511249" y="701635"/>
                    <a:pt x="499163" y="715570"/>
                    <a:pt x="481368" y="703649"/>
                  </a:cubicBezTo>
                  <a:cubicBezTo>
                    <a:pt x="464917" y="692652"/>
                    <a:pt x="468107" y="639765"/>
                    <a:pt x="473479" y="626249"/>
                  </a:cubicBezTo>
                  <a:cubicBezTo>
                    <a:pt x="477927" y="614917"/>
                    <a:pt x="484810" y="604843"/>
                    <a:pt x="491441" y="595021"/>
                  </a:cubicBezTo>
                  <a:cubicBezTo>
                    <a:pt x="496813" y="587130"/>
                    <a:pt x="502268" y="578987"/>
                    <a:pt x="506549" y="570256"/>
                  </a:cubicBezTo>
                  <a:cubicBezTo>
                    <a:pt x="508312" y="566647"/>
                    <a:pt x="510662" y="562281"/>
                    <a:pt x="513432" y="557245"/>
                  </a:cubicBezTo>
                  <a:cubicBezTo>
                    <a:pt x="523756" y="538272"/>
                    <a:pt x="539452" y="509562"/>
                    <a:pt x="534583" y="495459"/>
                  </a:cubicBezTo>
                  <a:cubicBezTo>
                    <a:pt x="531813" y="487484"/>
                    <a:pt x="526526" y="486393"/>
                    <a:pt x="519307" y="484882"/>
                  </a:cubicBezTo>
                  <a:cubicBezTo>
                    <a:pt x="514942" y="483958"/>
                    <a:pt x="510410" y="483035"/>
                    <a:pt x="506213" y="480432"/>
                  </a:cubicBezTo>
                  <a:cubicBezTo>
                    <a:pt x="491189" y="471030"/>
                    <a:pt x="485313" y="464650"/>
                    <a:pt x="476584" y="447861"/>
                  </a:cubicBezTo>
                  <a:cubicBezTo>
                    <a:pt x="472052" y="439214"/>
                    <a:pt x="467687" y="429812"/>
                    <a:pt x="463406" y="420830"/>
                  </a:cubicBezTo>
                  <a:cubicBezTo>
                    <a:pt x="456104" y="405383"/>
                    <a:pt x="448634" y="389433"/>
                    <a:pt x="439988" y="375582"/>
                  </a:cubicBezTo>
                  <a:cubicBezTo>
                    <a:pt x="434533" y="366767"/>
                    <a:pt x="428153" y="359464"/>
                    <a:pt x="421942" y="352328"/>
                  </a:cubicBezTo>
                  <a:cubicBezTo>
                    <a:pt x="409940" y="338561"/>
                    <a:pt x="398608" y="325549"/>
                    <a:pt x="395083" y="303807"/>
                  </a:cubicBezTo>
                  <a:cubicBezTo>
                    <a:pt x="393404" y="293313"/>
                    <a:pt x="393069" y="283659"/>
                    <a:pt x="392817" y="274341"/>
                  </a:cubicBezTo>
                  <a:cubicBezTo>
                    <a:pt x="392313" y="259902"/>
                    <a:pt x="391894" y="246218"/>
                    <a:pt x="386186" y="232199"/>
                  </a:cubicBezTo>
                  <a:cubicBezTo>
                    <a:pt x="375274" y="205168"/>
                    <a:pt x="366713" y="183845"/>
                    <a:pt x="369902" y="151693"/>
                  </a:cubicBezTo>
                  <a:cubicBezTo>
                    <a:pt x="372169" y="128944"/>
                    <a:pt x="377960" y="110307"/>
                    <a:pt x="383584" y="92342"/>
                  </a:cubicBezTo>
                  <a:cubicBezTo>
                    <a:pt x="390383" y="70516"/>
                    <a:pt x="396846" y="49865"/>
                    <a:pt x="397097" y="22750"/>
                  </a:cubicBezTo>
                  <a:cubicBezTo>
                    <a:pt x="359998" y="15362"/>
                    <a:pt x="323318" y="7723"/>
                    <a:pt x="287310" y="0"/>
                  </a:cubicBezTo>
                  <a:lnTo>
                    <a:pt x="168374" y="528870"/>
                  </a:lnTo>
                  <a:cubicBezTo>
                    <a:pt x="170221" y="531137"/>
                    <a:pt x="171899" y="533739"/>
                    <a:pt x="173410" y="53634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5466ABFF-18B8-E17C-64CA-6C81A2D55477}"/>
                </a:ext>
              </a:extLst>
            </p:cNvPr>
            <p:cNvSpPr/>
            <p:nvPr/>
          </p:nvSpPr>
          <p:spPr>
            <a:xfrm>
              <a:off x="10313611" y="3181085"/>
              <a:ext cx="772105" cy="497794"/>
            </a:xfrm>
            <a:custGeom>
              <a:avLst/>
              <a:gdLst>
                <a:gd name="connsiteX0" fmla="*/ 730236 w 854810"/>
                <a:gd name="connsiteY0" fmla="*/ 429476 h 551116"/>
                <a:gd name="connsiteX1" fmla="*/ 740644 w 854810"/>
                <a:gd name="connsiteY1" fmla="*/ 417975 h 551116"/>
                <a:gd name="connsiteX2" fmla="*/ 759698 w 854810"/>
                <a:gd name="connsiteY2" fmla="*/ 400934 h 551116"/>
                <a:gd name="connsiteX3" fmla="*/ 762719 w 854810"/>
                <a:gd name="connsiteY3" fmla="*/ 400514 h 551116"/>
                <a:gd name="connsiteX4" fmla="*/ 762887 w 854810"/>
                <a:gd name="connsiteY4" fmla="*/ 400514 h 551116"/>
                <a:gd name="connsiteX5" fmla="*/ 787480 w 854810"/>
                <a:gd name="connsiteY5" fmla="*/ 394974 h 551116"/>
                <a:gd name="connsiteX6" fmla="*/ 804183 w 854810"/>
                <a:gd name="connsiteY6" fmla="*/ 387083 h 551116"/>
                <a:gd name="connsiteX7" fmla="*/ 818620 w 854810"/>
                <a:gd name="connsiteY7" fmla="*/ 380619 h 551116"/>
                <a:gd name="connsiteX8" fmla="*/ 836918 w 854810"/>
                <a:gd name="connsiteY8" fmla="*/ 364081 h 551116"/>
                <a:gd name="connsiteX9" fmla="*/ 839520 w 854810"/>
                <a:gd name="connsiteY9" fmla="*/ 361311 h 551116"/>
                <a:gd name="connsiteX10" fmla="*/ 847662 w 854810"/>
                <a:gd name="connsiteY10" fmla="*/ 303135 h 551116"/>
                <a:gd name="connsiteX11" fmla="*/ 834736 w 854810"/>
                <a:gd name="connsiteY11" fmla="*/ 296083 h 551116"/>
                <a:gd name="connsiteX12" fmla="*/ 820467 w 854810"/>
                <a:gd name="connsiteY12" fmla="*/ 288612 h 551116"/>
                <a:gd name="connsiteX13" fmla="*/ 790922 w 854810"/>
                <a:gd name="connsiteY13" fmla="*/ 260573 h 551116"/>
                <a:gd name="connsiteX14" fmla="*/ 784039 w 854810"/>
                <a:gd name="connsiteY14" fmla="*/ 252515 h 551116"/>
                <a:gd name="connsiteX15" fmla="*/ 766916 w 854810"/>
                <a:gd name="connsiteY15" fmla="*/ 224056 h 551116"/>
                <a:gd name="connsiteX16" fmla="*/ 770609 w 854810"/>
                <a:gd name="connsiteY16" fmla="*/ 188630 h 551116"/>
                <a:gd name="connsiteX17" fmla="*/ 782276 w 854810"/>
                <a:gd name="connsiteY17" fmla="*/ 161263 h 551116"/>
                <a:gd name="connsiteX18" fmla="*/ 793272 w 854810"/>
                <a:gd name="connsiteY18" fmla="*/ 135743 h 551116"/>
                <a:gd name="connsiteX19" fmla="*/ 794951 w 854810"/>
                <a:gd name="connsiteY19" fmla="*/ 125754 h 551116"/>
                <a:gd name="connsiteX20" fmla="*/ 798728 w 854810"/>
                <a:gd name="connsiteY20" fmla="*/ 109971 h 551116"/>
                <a:gd name="connsiteX21" fmla="*/ 807709 w 854810"/>
                <a:gd name="connsiteY21" fmla="*/ 100234 h 551116"/>
                <a:gd name="connsiteX22" fmla="*/ 812241 w 854810"/>
                <a:gd name="connsiteY22" fmla="*/ 96204 h 551116"/>
                <a:gd name="connsiteX23" fmla="*/ 809471 w 854810"/>
                <a:gd name="connsiteY23" fmla="*/ 94861 h 551116"/>
                <a:gd name="connsiteX24" fmla="*/ 778499 w 854810"/>
                <a:gd name="connsiteY24" fmla="*/ 74294 h 551116"/>
                <a:gd name="connsiteX25" fmla="*/ 768595 w 854810"/>
                <a:gd name="connsiteY25" fmla="*/ 67578 h 551116"/>
                <a:gd name="connsiteX26" fmla="*/ 752311 w 854810"/>
                <a:gd name="connsiteY26" fmla="*/ 55573 h 551116"/>
                <a:gd name="connsiteX27" fmla="*/ 740393 w 854810"/>
                <a:gd name="connsiteY27" fmla="*/ 39539 h 551116"/>
                <a:gd name="connsiteX28" fmla="*/ 735357 w 854810"/>
                <a:gd name="connsiteY28" fmla="*/ 31984 h 551116"/>
                <a:gd name="connsiteX29" fmla="*/ 730824 w 854810"/>
                <a:gd name="connsiteY29" fmla="*/ 25100 h 551116"/>
                <a:gd name="connsiteX30" fmla="*/ 719241 w 854810"/>
                <a:gd name="connsiteY30" fmla="*/ 10493 h 551116"/>
                <a:gd name="connsiteX31" fmla="*/ 697250 w 854810"/>
                <a:gd name="connsiteY31" fmla="*/ 0 h 551116"/>
                <a:gd name="connsiteX32" fmla="*/ 105926 w 854810"/>
                <a:gd name="connsiteY32" fmla="*/ 122312 h 551116"/>
                <a:gd name="connsiteX33" fmla="*/ 90986 w 854810"/>
                <a:gd name="connsiteY33" fmla="*/ 62457 h 551116"/>
                <a:gd name="connsiteX34" fmla="*/ 74367 w 854810"/>
                <a:gd name="connsiteY34" fmla="*/ 74042 h 551116"/>
                <a:gd name="connsiteX35" fmla="*/ 0 w 854810"/>
                <a:gd name="connsiteY35" fmla="*/ 128272 h 551116"/>
                <a:gd name="connsiteX36" fmla="*/ 73695 w 854810"/>
                <a:gd name="connsiteY36" fmla="*/ 551116 h 551116"/>
                <a:gd name="connsiteX37" fmla="*/ 730236 w 854810"/>
                <a:gd name="connsiteY37" fmla="*/ 429560 h 55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54810" h="551116">
                  <a:moveTo>
                    <a:pt x="730236" y="429476"/>
                  </a:moveTo>
                  <a:cubicBezTo>
                    <a:pt x="734014" y="427965"/>
                    <a:pt x="737203" y="423096"/>
                    <a:pt x="740644" y="417975"/>
                  </a:cubicBezTo>
                  <a:cubicBezTo>
                    <a:pt x="745261" y="411008"/>
                    <a:pt x="750717" y="402781"/>
                    <a:pt x="759698" y="400934"/>
                  </a:cubicBezTo>
                  <a:cubicBezTo>
                    <a:pt x="759698" y="400934"/>
                    <a:pt x="762216" y="400430"/>
                    <a:pt x="762719" y="400514"/>
                  </a:cubicBezTo>
                  <a:cubicBezTo>
                    <a:pt x="762719" y="400514"/>
                    <a:pt x="762887" y="400514"/>
                    <a:pt x="762887" y="400514"/>
                  </a:cubicBezTo>
                  <a:cubicBezTo>
                    <a:pt x="772708" y="400514"/>
                    <a:pt x="780094" y="400178"/>
                    <a:pt x="787480" y="394974"/>
                  </a:cubicBezTo>
                  <a:cubicBezTo>
                    <a:pt x="791677" y="392036"/>
                    <a:pt x="797721" y="389601"/>
                    <a:pt x="804183" y="387083"/>
                  </a:cubicBezTo>
                  <a:cubicBezTo>
                    <a:pt x="809387" y="384984"/>
                    <a:pt x="814843" y="382885"/>
                    <a:pt x="818620" y="380619"/>
                  </a:cubicBezTo>
                  <a:cubicBezTo>
                    <a:pt x="824663" y="376925"/>
                    <a:pt x="831462" y="369789"/>
                    <a:pt x="836918" y="364081"/>
                  </a:cubicBezTo>
                  <a:lnTo>
                    <a:pt x="839520" y="361311"/>
                  </a:lnTo>
                  <a:cubicBezTo>
                    <a:pt x="852698" y="347711"/>
                    <a:pt x="861847" y="317238"/>
                    <a:pt x="847662" y="303135"/>
                  </a:cubicBezTo>
                  <a:cubicBezTo>
                    <a:pt x="844724" y="300197"/>
                    <a:pt x="839856" y="298182"/>
                    <a:pt x="834736" y="296083"/>
                  </a:cubicBezTo>
                  <a:cubicBezTo>
                    <a:pt x="829784" y="294069"/>
                    <a:pt x="824663" y="291886"/>
                    <a:pt x="820467" y="288612"/>
                  </a:cubicBezTo>
                  <a:cubicBezTo>
                    <a:pt x="809136" y="279630"/>
                    <a:pt x="799735" y="271822"/>
                    <a:pt x="790922" y="260573"/>
                  </a:cubicBezTo>
                  <a:cubicBezTo>
                    <a:pt x="788823" y="257887"/>
                    <a:pt x="786473" y="255201"/>
                    <a:pt x="784039" y="252515"/>
                  </a:cubicBezTo>
                  <a:cubicBezTo>
                    <a:pt x="776485" y="243952"/>
                    <a:pt x="768595" y="235053"/>
                    <a:pt x="766916" y="224056"/>
                  </a:cubicBezTo>
                  <a:cubicBezTo>
                    <a:pt x="764902" y="211044"/>
                    <a:pt x="768427" y="196270"/>
                    <a:pt x="770609" y="188630"/>
                  </a:cubicBezTo>
                  <a:cubicBezTo>
                    <a:pt x="773379" y="179144"/>
                    <a:pt x="777911" y="170078"/>
                    <a:pt x="782276" y="161263"/>
                  </a:cubicBezTo>
                  <a:cubicBezTo>
                    <a:pt x="786389" y="152953"/>
                    <a:pt x="790670" y="144474"/>
                    <a:pt x="793272" y="135743"/>
                  </a:cubicBezTo>
                  <a:cubicBezTo>
                    <a:pt x="794195" y="132805"/>
                    <a:pt x="794531" y="129363"/>
                    <a:pt x="794951" y="125754"/>
                  </a:cubicBezTo>
                  <a:cubicBezTo>
                    <a:pt x="795538" y="120297"/>
                    <a:pt x="796210" y="114672"/>
                    <a:pt x="798728" y="109971"/>
                  </a:cubicBezTo>
                  <a:cubicBezTo>
                    <a:pt x="800910" y="105858"/>
                    <a:pt x="804351" y="103004"/>
                    <a:pt x="807709" y="100234"/>
                  </a:cubicBezTo>
                  <a:cubicBezTo>
                    <a:pt x="809304" y="98890"/>
                    <a:pt x="810898" y="97631"/>
                    <a:pt x="812241" y="96204"/>
                  </a:cubicBezTo>
                  <a:cubicBezTo>
                    <a:pt x="811318" y="95784"/>
                    <a:pt x="810394" y="95365"/>
                    <a:pt x="809471" y="94861"/>
                  </a:cubicBezTo>
                  <a:cubicBezTo>
                    <a:pt x="799399" y="89236"/>
                    <a:pt x="788739" y="82101"/>
                    <a:pt x="778499" y="74294"/>
                  </a:cubicBezTo>
                  <a:cubicBezTo>
                    <a:pt x="775562" y="72027"/>
                    <a:pt x="772120" y="69844"/>
                    <a:pt x="768595" y="67578"/>
                  </a:cubicBezTo>
                  <a:cubicBezTo>
                    <a:pt x="762719" y="63884"/>
                    <a:pt x="756676" y="60023"/>
                    <a:pt x="752311" y="55573"/>
                  </a:cubicBezTo>
                  <a:cubicBezTo>
                    <a:pt x="747779" y="51040"/>
                    <a:pt x="744086" y="45164"/>
                    <a:pt x="740393" y="39539"/>
                  </a:cubicBezTo>
                  <a:cubicBezTo>
                    <a:pt x="738714" y="36937"/>
                    <a:pt x="737035" y="34335"/>
                    <a:pt x="735357" y="31984"/>
                  </a:cubicBezTo>
                  <a:cubicBezTo>
                    <a:pt x="733845" y="29885"/>
                    <a:pt x="732335" y="27535"/>
                    <a:pt x="730824" y="25100"/>
                  </a:cubicBezTo>
                  <a:cubicBezTo>
                    <a:pt x="727383" y="19560"/>
                    <a:pt x="723774" y="13935"/>
                    <a:pt x="719241" y="10493"/>
                  </a:cubicBezTo>
                  <a:cubicBezTo>
                    <a:pt x="714037" y="6548"/>
                    <a:pt x="703293" y="2266"/>
                    <a:pt x="697250" y="0"/>
                  </a:cubicBezTo>
                  <a:lnTo>
                    <a:pt x="105926" y="122312"/>
                  </a:lnTo>
                  <a:lnTo>
                    <a:pt x="90986" y="62457"/>
                  </a:lnTo>
                  <a:cubicBezTo>
                    <a:pt x="85446" y="66319"/>
                    <a:pt x="79822" y="70096"/>
                    <a:pt x="74367" y="74042"/>
                  </a:cubicBezTo>
                  <a:cubicBezTo>
                    <a:pt x="49858" y="92091"/>
                    <a:pt x="26104" y="110979"/>
                    <a:pt x="0" y="128272"/>
                  </a:cubicBezTo>
                  <a:lnTo>
                    <a:pt x="73695" y="551116"/>
                  </a:lnTo>
                  <a:lnTo>
                    <a:pt x="730236" y="429560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06CDC51E-DFC2-FBF0-590B-7FD1E63FAEEB}"/>
                </a:ext>
              </a:extLst>
            </p:cNvPr>
            <p:cNvSpPr/>
            <p:nvPr/>
          </p:nvSpPr>
          <p:spPr>
            <a:xfrm>
              <a:off x="9025956" y="4608878"/>
              <a:ext cx="456125" cy="830212"/>
            </a:xfrm>
            <a:custGeom>
              <a:avLst/>
              <a:gdLst>
                <a:gd name="connsiteX0" fmla="*/ 482489 w 504983"/>
                <a:gd name="connsiteY0" fmla="*/ 0 h 919142"/>
                <a:gd name="connsiteX1" fmla="*/ 168739 w 504983"/>
                <a:gd name="connsiteY1" fmla="*/ 23169 h 919142"/>
                <a:gd name="connsiteX2" fmla="*/ 157072 w 504983"/>
                <a:gd name="connsiteY2" fmla="*/ 35930 h 919142"/>
                <a:gd name="connsiteX3" fmla="*/ 151616 w 504983"/>
                <a:gd name="connsiteY3" fmla="*/ 41386 h 919142"/>
                <a:gd name="connsiteX4" fmla="*/ 142300 w 504983"/>
                <a:gd name="connsiteY4" fmla="*/ 53559 h 919142"/>
                <a:gd name="connsiteX5" fmla="*/ 135920 w 504983"/>
                <a:gd name="connsiteY5" fmla="*/ 62457 h 919142"/>
                <a:gd name="connsiteX6" fmla="*/ 126184 w 504983"/>
                <a:gd name="connsiteY6" fmla="*/ 92342 h 919142"/>
                <a:gd name="connsiteX7" fmla="*/ 121483 w 504983"/>
                <a:gd name="connsiteY7" fmla="*/ 115344 h 919142"/>
                <a:gd name="connsiteX8" fmla="*/ 88161 w 504983"/>
                <a:gd name="connsiteY8" fmla="*/ 175954 h 919142"/>
                <a:gd name="connsiteX9" fmla="*/ 45187 w 504983"/>
                <a:gd name="connsiteY9" fmla="*/ 276691 h 919142"/>
                <a:gd name="connsiteX10" fmla="*/ 39563 w 504983"/>
                <a:gd name="connsiteY10" fmla="*/ 354091 h 919142"/>
                <a:gd name="connsiteX11" fmla="*/ 39563 w 504983"/>
                <a:gd name="connsiteY11" fmla="*/ 368026 h 919142"/>
                <a:gd name="connsiteX12" fmla="*/ 66254 w 504983"/>
                <a:gd name="connsiteY12" fmla="*/ 439298 h 919142"/>
                <a:gd name="connsiteX13" fmla="*/ 71878 w 504983"/>
                <a:gd name="connsiteY13" fmla="*/ 448532 h 919142"/>
                <a:gd name="connsiteX14" fmla="*/ 87154 w 504983"/>
                <a:gd name="connsiteY14" fmla="*/ 536593 h 919142"/>
                <a:gd name="connsiteX15" fmla="*/ 59455 w 504983"/>
                <a:gd name="connsiteY15" fmla="*/ 598211 h 919142"/>
                <a:gd name="connsiteX16" fmla="*/ 44263 w 504983"/>
                <a:gd name="connsiteY16" fmla="*/ 622052 h 919142"/>
                <a:gd name="connsiteX17" fmla="*/ 13123 w 504983"/>
                <a:gd name="connsiteY17" fmla="*/ 701802 h 919142"/>
                <a:gd name="connsiteX18" fmla="*/ 9934 w 504983"/>
                <a:gd name="connsiteY18" fmla="*/ 713723 h 919142"/>
                <a:gd name="connsiteX19" fmla="*/ 1288 w 504983"/>
                <a:gd name="connsiteY19" fmla="*/ 784911 h 919142"/>
                <a:gd name="connsiteX20" fmla="*/ 299930 w 504983"/>
                <a:gd name="connsiteY20" fmla="*/ 769632 h 919142"/>
                <a:gd name="connsiteX21" fmla="*/ 299930 w 504983"/>
                <a:gd name="connsiteY21" fmla="*/ 773997 h 919142"/>
                <a:gd name="connsiteX22" fmla="*/ 289606 w 504983"/>
                <a:gd name="connsiteY22" fmla="*/ 816391 h 919142"/>
                <a:gd name="connsiteX23" fmla="*/ 289438 w 504983"/>
                <a:gd name="connsiteY23" fmla="*/ 852908 h 919142"/>
                <a:gd name="connsiteX24" fmla="*/ 289773 w 504983"/>
                <a:gd name="connsiteY24" fmla="*/ 853999 h 919142"/>
                <a:gd name="connsiteX25" fmla="*/ 310506 w 504983"/>
                <a:gd name="connsiteY25" fmla="*/ 885060 h 919142"/>
                <a:gd name="connsiteX26" fmla="*/ 332916 w 504983"/>
                <a:gd name="connsiteY26" fmla="*/ 919143 h 919142"/>
                <a:gd name="connsiteX27" fmla="*/ 347185 w 504983"/>
                <a:gd name="connsiteY27" fmla="*/ 913099 h 919142"/>
                <a:gd name="connsiteX28" fmla="*/ 393434 w 504983"/>
                <a:gd name="connsiteY28" fmla="*/ 897064 h 919142"/>
                <a:gd name="connsiteX29" fmla="*/ 504983 w 504983"/>
                <a:gd name="connsiteY29" fmla="*/ 897652 h 919142"/>
                <a:gd name="connsiteX30" fmla="*/ 482657 w 504983"/>
                <a:gd name="connsiteY30" fmla="*/ 523665 h 919142"/>
                <a:gd name="connsiteX31" fmla="*/ 482657 w 504983"/>
                <a:gd name="connsiteY31" fmla="*/ 168 h 91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04983" h="919142">
                  <a:moveTo>
                    <a:pt x="482489" y="0"/>
                  </a:moveTo>
                  <a:lnTo>
                    <a:pt x="168739" y="23169"/>
                  </a:lnTo>
                  <a:cubicBezTo>
                    <a:pt x="165130" y="27787"/>
                    <a:pt x="161185" y="31816"/>
                    <a:pt x="157072" y="35930"/>
                  </a:cubicBezTo>
                  <a:cubicBezTo>
                    <a:pt x="155310" y="37692"/>
                    <a:pt x="153463" y="39455"/>
                    <a:pt x="151616" y="41386"/>
                  </a:cubicBezTo>
                  <a:cubicBezTo>
                    <a:pt x="148175" y="44912"/>
                    <a:pt x="145153" y="49361"/>
                    <a:pt x="142300" y="53559"/>
                  </a:cubicBezTo>
                  <a:cubicBezTo>
                    <a:pt x="140201" y="56665"/>
                    <a:pt x="138103" y="59687"/>
                    <a:pt x="135920" y="62457"/>
                  </a:cubicBezTo>
                  <a:cubicBezTo>
                    <a:pt x="128786" y="71187"/>
                    <a:pt x="127527" y="81429"/>
                    <a:pt x="126184" y="92342"/>
                  </a:cubicBezTo>
                  <a:cubicBezTo>
                    <a:pt x="125261" y="99814"/>
                    <a:pt x="124337" y="107537"/>
                    <a:pt x="121483" y="115344"/>
                  </a:cubicBezTo>
                  <a:cubicBezTo>
                    <a:pt x="113006" y="139017"/>
                    <a:pt x="99241" y="160172"/>
                    <a:pt x="88161" y="175954"/>
                  </a:cubicBezTo>
                  <a:cubicBezTo>
                    <a:pt x="70031" y="201810"/>
                    <a:pt x="54419" y="238495"/>
                    <a:pt x="45187" y="276691"/>
                  </a:cubicBezTo>
                  <a:cubicBezTo>
                    <a:pt x="39143" y="301624"/>
                    <a:pt x="39395" y="327144"/>
                    <a:pt x="39563" y="354091"/>
                  </a:cubicBezTo>
                  <a:cubicBezTo>
                    <a:pt x="39563" y="358708"/>
                    <a:pt x="39563" y="363325"/>
                    <a:pt x="39563" y="368026"/>
                  </a:cubicBezTo>
                  <a:cubicBezTo>
                    <a:pt x="39563" y="395561"/>
                    <a:pt x="52489" y="416800"/>
                    <a:pt x="66254" y="439298"/>
                  </a:cubicBezTo>
                  <a:cubicBezTo>
                    <a:pt x="68101" y="442320"/>
                    <a:pt x="69947" y="445426"/>
                    <a:pt x="71878" y="448532"/>
                  </a:cubicBezTo>
                  <a:cubicBezTo>
                    <a:pt x="88749" y="476823"/>
                    <a:pt x="89085" y="508891"/>
                    <a:pt x="87154" y="536593"/>
                  </a:cubicBezTo>
                  <a:cubicBezTo>
                    <a:pt x="85559" y="559847"/>
                    <a:pt x="72297" y="579323"/>
                    <a:pt x="59455" y="598211"/>
                  </a:cubicBezTo>
                  <a:cubicBezTo>
                    <a:pt x="54168" y="605934"/>
                    <a:pt x="48712" y="613993"/>
                    <a:pt x="44263" y="622052"/>
                  </a:cubicBezTo>
                  <a:cubicBezTo>
                    <a:pt x="32428" y="643459"/>
                    <a:pt x="20174" y="674771"/>
                    <a:pt x="13123" y="701802"/>
                  </a:cubicBezTo>
                  <a:cubicBezTo>
                    <a:pt x="12116" y="705748"/>
                    <a:pt x="11025" y="709777"/>
                    <a:pt x="9934" y="713723"/>
                  </a:cubicBezTo>
                  <a:cubicBezTo>
                    <a:pt x="3386" y="737648"/>
                    <a:pt x="-2741" y="760314"/>
                    <a:pt x="1288" y="784911"/>
                  </a:cubicBezTo>
                  <a:lnTo>
                    <a:pt x="299930" y="769632"/>
                  </a:lnTo>
                  <a:lnTo>
                    <a:pt x="299930" y="773997"/>
                  </a:lnTo>
                  <a:cubicBezTo>
                    <a:pt x="299762" y="790535"/>
                    <a:pt x="297160" y="801280"/>
                    <a:pt x="289606" y="816391"/>
                  </a:cubicBezTo>
                  <a:cubicBezTo>
                    <a:pt x="282975" y="829655"/>
                    <a:pt x="285409" y="838385"/>
                    <a:pt x="289438" y="852908"/>
                  </a:cubicBezTo>
                  <a:lnTo>
                    <a:pt x="289773" y="853999"/>
                  </a:lnTo>
                  <a:cubicBezTo>
                    <a:pt x="292963" y="865500"/>
                    <a:pt x="301440" y="874986"/>
                    <a:pt x="310506" y="885060"/>
                  </a:cubicBezTo>
                  <a:cubicBezTo>
                    <a:pt x="319738" y="895302"/>
                    <a:pt x="329139" y="905963"/>
                    <a:pt x="332916" y="919143"/>
                  </a:cubicBezTo>
                  <a:cubicBezTo>
                    <a:pt x="337449" y="917296"/>
                    <a:pt x="342149" y="915449"/>
                    <a:pt x="347185" y="913099"/>
                  </a:cubicBezTo>
                  <a:cubicBezTo>
                    <a:pt x="363301" y="905543"/>
                    <a:pt x="375387" y="897904"/>
                    <a:pt x="393434" y="897064"/>
                  </a:cubicBezTo>
                  <a:cubicBezTo>
                    <a:pt x="426840" y="895638"/>
                    <a:pt x="471493" y="891608"/>
                    <a:pt x="504983" y="897652"/>
                  </a:cubicBezTo>
                  <a:cubicBezTo>
                    <a:pt x="501458" y="846360"/>
                    <a:pt x="485259" y="606774"/>
                    <a:pt x="482657" y="523665"/>
                  </a:cubicBezTo>
                  <a:cubicBezTo>
                    <a:pt x="478880" y="400766"/>
                    <a:pt x="482153" y="44492"/>
                    <a:pt x="482657" y="16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073E532-3A05-95BC-2DC4-EA264B83B8F5}"/>
                </a:ext>
              </a:extLst>
            </p:cNvPr>
            <p:cNvSpPr/>
            <p:nvPr/>
          </p:nvSpPr>
          <p:spPr>
            <a:xfrm>
              <a:off x="8960083" y="3336451"/>
              <a:ext cx="534349" cy="937571"/>
            </a:xfrm>
            <a:custGeom>
              <a:avLst/>
              <a:gdLst>
                <a:gd name="connsiteX0" fmla="*/ 104266 w 591587"/>
                <a:gd name="connsiteY0" fmla="*/ 26360 h 1038001"/>
                <a:gd name="connsiteX1" fmla="*/ 112912 w 591587"/>
                <a:gd name="connsiteY1" fmla="*/ 41806 h 1038001"/>
                <a:gd name="connsiteX2" fmla="*/ 134063 w 591587"/>
                <a:gd name="connsiteY2" fmla="*/ 54146 h 1038001"/>
                <a:gd name="connsiteX3" fmla="*/ 150179 w 591587"/>
                <a:gd name="connsiteY3" fmla="*/ 61702 h 1038001"/>
                <a:gd name="connsiteX4" fmla="*/ 171079 w 591587"/>
                <a:gd name="connsiteY4" fmla="*/ 91335 h 1038001"/>
                <a:gd name="connsiteX5" fmla="*/ 163693 w 591587"/>
                <a:gd name="connsiteY5" fmla="*/ 134736 h 1038001"/>
                <a:gd name="connsiteX6" fmla="*/ 156474 w 591587"/>
                <a:gd name="connsiteY6" fmla="*/ 157066 h 1038001"/>
                <a:gd name="connsiteX7" fmla="*/ 143464 w 591587"/>
                <a:gd name="connsiteY7" fmla="*/ 190729 h 1038001"/>
                <a:gd name="connsiteX8" fmla="*/ 86724 w 591587"/>
                <a:gd name="connsiteY8" fmla="*/ 222209 h 1038001"/>
                <a:gd name="connsiteX9" fmla="*/ 56339 w 591587"/>
                <a:gd name="connsiteY9" fmla="*/ 230184 h 1038001"/>
                <a:gd name="connsiteX10" fmla="*/ 55165 w 591587"/>
                <a:gd name="connsiteY10" fmla="*/ 250500 h 1038001"/>
                <a:gd name="connsiteX11" fmla="*/ 61208 w 591587"/>
                <a:gd name="connsiteY11" fmla="*/ 261749 h 1038001"/>
                <a:gd name="connsiteX12" fmla="*/ 72035 w 591587"/>
                <a:gd name="connsiteY12" fmla="*/ 315895 h 1038001"/>
                <a:gd name="connsiteX13" fmla="*/ 55668 w 591587"/>
                <a:gd name="connsiteY13" fmla="*/ 341835 h 1038001"/>
                <a:gd name="connsiteX14" fmla="*/ 44505 w 591587"/>
                <a:gd name="connsiteY14" fmla="*/ 357365 h 1038001"/>
                <a:gd name="connsiteX15" fmla="*/ 33761 w 591587"/>
                <a:gd name="connsiteY15" fmla="*/ 374658 h 1038001"/>
                <a:gd name="connsiteX16" fmla="*/ 22514 w 591587"/>
                <a:gd name="connsiteY16" fmla="*/ 393043 h 1038001"/>
                <a:gd name="connsiteX17" fmla="*/ 20415 w 591587"/>
                <a:gd name="connsiteY17" fmla="*/ 396989 h 1038001"/>
                <a:gd name="connsiteX18" fmla="*/ 187 w 591587"/>
                <a:gd name="connsiteY18" fmla="*/ 421501 h 1038001"/>
                <a:gd name="connsiteX19" fmla="*/ 187 w 591587"/>
                <a:gd name="connsiteY19" fmla="*/ 429476 h 1038001"/>
                <a:gd name="connsiteX20" fmla="*/ 11182 w 591587"/>
                <a:gd name="connsiteY20" fmla="*/ 508303 h 1038001"/>
                <a:gd name="connsiteX21" fmla="*/ 74385 w 591587"/>
                <a:gd name="connsiteY21" fmla="*/ 579743 h 1038001"/>
                <a:gd name="connsiteX22" fmla="*/ 94027 w 591587"/>
                <a:gd name="connsiteY22" fmla="*/ 598883 h 1038001"/>
                <a:gd name="connsiteX23" fmla="*/ 98307 w 591587"/>
                <a:gd name="connsiteY23" fmla="*/ 603584 h 1038001"/>
                <a:gd name="connsiteX24" fmla="*/ 107792 w 591587"/>
                <a:gd name="connsiteY24" fmla="*/ 611894 h 1038001"/>
                <a:gd name="connsiteX25" fmla="*/ 123236 w 591587"/>
                <a:gd name="connsiteY25" fmla="*/ 627425 h 1038001"/>
                <a:gd name="connsiteX26" fmla="*/ 131797 w 591587"/>
                <a:gd name="connsiteY26" fmla="*/ 673176 h 1038001"/>
                <a:gd name="connsiteX27" fmla="*/ 132384 w 591587"/>
                <a:gd name="connsiteY27" fmla="*/ 693072 h 1038001"/>
                <a:gd name="connsiteX28" fmla="*/ 135070 w 591587"/>
                <a:gd name="connsiteY28" fmla="*/ 700879 h 1038001"/>
                <a:gd name="connsiteX29" fmla="*/ 144388 w 591587"/>
                <a:gd name="connsiteY29" fmla="*/ 699704 h 1038001"/>
                <a:gd name="connsiteX30" fmla="*/ 165707 w 591587"/>
                <a:gd name="connsiteY30" fmla="*/ 690805 h 1038001"/>
                <a:gd name="connsiteX31" fmla="*/ 172590 w 591587"/>
                <a:gd name="connsiteY31" fmla="*/ 687699 h 1038001"/>
                <a:gd name="connsiteX32" fmla="*/ 201548 w 591587"/>
                <a:gd name="connsiteY32" fmla="*/ 687364 h 1038001"/>
                <a:gd name="connsiteX33" fmla="*/ 214138 w 591587"/>
                <a:gd name="connsiteY33" fmla="*/ 719767 h 1038001"/>
                <a:gd name="connsiteX34" fmla="*/ 200288 w 591587"/>
                <a:gd name="connsiteY34" fmla="*/ 784071 h 1038001"/>
                <a:gd name="connsiteX35" fmla="*/ 200792 w 591587"/>
                <a:gd name="connsiteY35" fmla="*/ 839141 h 1038001"/>
                <a:gd name="connsiteX36" fmla="*/ 240997 w 591587"/>
                <a:gd name="connsiteY36" fmla="*/ 871964 h 1038001"/>
                <a:gd name="connsiteX37" fmla="*/ 253083 w 591587"/>
                <a:gd name="connsiteY37" fmla="*/ 880023 h 1038001"/>
                <a:gd name="connsiteX38" fmla="*/ 267184 w 591587"/>
                <a:gd name="connsiteY38" fmla="*/ 888166 h 1038001"/>
                <a:gd name="connsiteX39" fmla="*/ 280362 w 591587"/>
                <a:gd name="connsiteY39" fmla="*/ 895554 h 1038001"/>
                <a:gd name="connsiteX40" fmla="*/ 332654 w 591587"/>
                <a:gd name="connsiteY40" fmla="*/ 985965 h 1038001"/>
                <a:gd name="connsiteX41" fmla="*/ 330472 w 591587"/>
                <a:gd name="connsiteY41" fmla="*/ 995283 h 1038001"/>
                <a:gd name="connsiteX42" fmla="*/ 330640 w 591587"/>
                <a:gd name="connsiteY42" fmla="*/ 1018537 h 1038001"/>
                <a:gd name="connsiteX43" fmla="*/ 344741 w 591587"/>
                <a:gd name="connsiteY43" fmla="*/ 1037593 h 1038001"/>
                <a:gd name="connsiteX44" fmla="*/ 349525 w 591587"/>
                <a:gd name="connsiteY44" fmla="*/ 1037173 h 1038001"/>
                <a:gd name="connsiteX45" fmla="*/ 349525 w 591587"/>
                <a:gd name="connsiteY45" fmla="*/ 1037341 h 1038001"/>
                <a:gd name="connsiteX46" fmla="*/ 353302 w 591587"/>
                <a:gd name="connsiteY46" fmla="*/ 1034151 h 1038001"/>
                <a:gd name="connsiteX47" fmla="*/ 362955 w 591587"/>
                <a:gd name="connsiteY47" fmla="*/ 1026428 h 1038001"/>
                <a:gd name="connsiteX48" fmla="*/ 378567 w 591587"/>
                <a:gd name="connsiteY48" fmla="*/ 1013584 h 1038001"/>
                <a:gd name="connsiteX49" fmla="*/ 404587 w 591587"/>
                <a:gd name="connsiteY49" fmla="*/ 994108 h 1038001"/>
                <a:gd name="connsiteX50" fmla="*/ 423724 w 591587"/>
                <a:gd name="connsiteY50" fmla="*/ 1000152 h 1038001"/>
                <a:gd name="connsiteX51" fmla="*/ 429683 w 591587"/>
                <a:gd name="connsiteY51" fmla="*/ 1004182 h 1038001"/>
                <a:gd name="connsiteX52" fmla="*/ 442525 w 591587"/>
                <a:gd name="connsiteY52" fmla="*/ 1012157 h 1038001"/>
                <a:gd name="connsiteX53" fmla="*/ 444036 w 591587"/>
                <a:gd name="connsiteY53" fmla="*/ 1013164 h 1038001"/>
                <a:gd name="connsiteX54" fmla="*/ 448317 w 591587"/>
                <a:gd name="connsiteY54" fmla="*/ 1016102 h 1038001"/>
                <a:gd name="connsiteX55" fmla="*/ 462838 w 591587"/>
                <a:gd name="connsiteY55" fmla="*/ 1022315 h 1038001"/>
                <a:gd name="connsiteX56" fmla="*/ 472155 w 591587"/>
                <a:gd name="connsiteY56" fmla="*/ 1018621 h 1038001"/>
                <a:gd name="connsiteX57" fmla="*/ 473833 w 591587"/>
                <a:gd name="connsiteY57" fmla="*/ 1013164 h 1038001"/>
                <a:gd name="connsiteX58" fmla="*/ 472406 w 591587"/>
                <a:gd name="connsiteY58" fmla="*/ 1004937 h 1038001"/>
                <a:gd name="connsiteX59" fmla="*/ 470644 w 591587"/>
                <a:gd name="connsiteY59" fmla="*/ 997130 h 1038001"/>
                <a:gd name="connsiteX60" fmla="*/ 470224 w 591587"/>
                <a:gd name="connsiteY60" fmla="*/ 993269 h 1038001"/>
                <a:gd name="connsiteX61" fmla="*/ 469637 w 591587"/>
                <a:gd name="connsiteY61" fmla="*/ 979669 h 1038001"/>
                <a:gd name="connsiteX62" fmla="*/ 495656 w 591587"/>
                <a:gd name="connsiteY62" fmla="*/ 954569 h 1038001"/>
                <a:gd name="connsiteX63" fmla="*/ 503462 w 591587"/>
                <a:gd name="connsiteY63" fmla="*/ 950707 h 1038001"/>
                <a:gd name="connsiteX64" fmla="*/ 527888 w 591587"/>
                <a:gd name="connsiteY64" fmla="*/ 910580 h 1038001"/>
                <a:gd name="connsiteX65" fmla="*/ 528307 w 591587"/>
                <a:gd name="connsiteY65" fmla="*/ 875826 h 1038001"/>
                <a:gd name="connsiteX66" fmla="*/ 527720 w 591587"/>
                <a:gd name="connsiteY66" fmla="*/ 858113 h 1038001"/>
                <a:gd name="connsiteX67" fmla="*/ 549291 w 591587"/>
                <a:gd name="connsiteY67" fmla="*/ 779034 h 1038001"/>
                <a:gd name="connsiteX68" fmla="*/ 561629 w 591587"/>
                <a:gd name="connsiteY68" fmla="*/ 755361 h 1038001"/>
                <a:gd name="connsiteX69" fmla="*/ 566749 w 591587"/>
                <a:gd name="connsiteY69" fmla="*/ 744532 h 1038001"/>
                <a:gd name="connsiteX70" fmla="*/ 576486 w 591587"/>
                <a:gd name="connsiteY70" fmla="*/ 727406 h 1038001"/>
                <a:gd name="connsiteX71" fmla="*/ 590755 w 591587"/>
                <a:gd name="connsiteY71" fmla="*/ 679388 h 1038001"/>
                <a:gd name="connsiteX72" fmla="*/ 576150 w 591587"/>
                <a:gd name="connsiteY72" fmla="*/ 653029 h 1038001"/>
                <a:gd name="connsiteX73" fmla="*/ 563812 w 591587"/>
                <a:gd name="connsiteY73" fmla="*/ 634980 h 1038001"/>
                <a:gd name="connsiteX74" fmla="*/ 559279 w 591587"/>
                <a:gd name="connsiteY74" fmla="*/ 612063 h 1038001"/>
                <a:gd name="connsiteX75" fmla="*/ 566414 w 591587"/>
                <a:gd name="connsiteY75" fmla="*/ 597372 h 1038001"/>
                <a:gd name="connsiteX76" fmla="*/ 570778 w 591587"/>
                <a:gd name="connsiteY76" fmla="*/ 590236 h 1038001"/>
                <a:gd name="connsiteX77" fmla="*/ 576738 w 591587"/>
                <a:gd name="connsiteY77" fmla="*/ 544484 h 1038001"/>
                <a:gd name="connsiteX78" fmla="*/ 566162 w 591587"/>
                <a:gd name="connsiteY78" fmla="*/ 509227 h 1038001"/>
                <a:gd name="connsiteX79" fmla="*/ 564399 w 591587"/>
                <a:gd name="connsiteY79" fmla="*/ 490506 h 1038001"/>
                <a:gd name="connsiteX80" fmla="*/ 563560 w 591587"/>
                <a:gd name="connsiteY80" fmla="*/ 484210 h 1038001"/>
                <a:gd name="connsiteX81" fmla="*/ 563308 w 591587"/>
                <a:gd name="connsiteY81" fmla="*/ 484210 h 1038001"/>
                <a:gd name="connsiteX82" fmla="*/ 562804 w 591587"/>
                <a:gd name="connsiteY82" fmla="*/ 476403 h 1038001"/>
                <a:gd name="connsiteX83" fmla="*/ 562804 w 591587"/>
                <a:gd name="connsiteY83" fmla="*/ 475899 h 1038001"/>
                <a:gd name="connsiteX84" fmla="*/ 562804 w 591587"/>
                <a:gd name="connsiteY84" fmla="*/ 475899 h 1038001"/>
                <a:gd name="connsiteX85" fmla="*/ 538799 w 591587"/>
                <a:gd name="connsiteY85" fmla="*/ 118786 h 1038001"/>
                <a:gd name="connsiteX86" fmla="*/ 512275 w 591587"/>
                <a:gd name="connsiteY86" fmla="*/ 78743 h 1038001"/>
                <a:gd name="connsiteX87" fmla="*/ 493306 w 591587"/>
                <a:gd name="connsiteY87" fmla="*/ 252 h 1038001"/>
                <a:gd name="connsiteX88" fmla="*/ 493306 w 591587"/>
                <a:gd name="connsiteY88" fmla="*/ 0 h 1038001"/>
                <a:gd name="connsiteX89" fmla="*/ 101580 w 591587"/>
                <a:gd name="connsiteY89" fmla="*/ 21155 h 1038001"/>
                <a:gd name="connsiteX90" fmla="*/ 103931 w 591587"/>
                <a:gd name="connsiteY90" fmla="*/ 26444 h 103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591587" h="1038001">
                  <a:moveTo>
                    <a:pt x="104266" y="26360"/>
                  </a:moveTo>
                  <a:cubicBezTo>
                    <a:pt x="106784" y="32068"/>
                    <a:pt x="109135" y="37525"/>
                    <a:pt x="112912" y="41806"/>
                  </a:cubicBezTo>
                  <a:cubicBezTo>
                    <a:pt x="118535" y="48270"/>
                    <a:pt x="126089" y="51124"/>
                    <a:pt x="134063" y="54146"/>
                  </a:cubicBezTo>
                  <a:cubicBezTo>
                    <a:pt x="139519" y="56161"/>
                    <a:pt x="145143" y="58344"/>
                    <a:pt x="150179" y="61702"/>
                  </a:cubicBezTo>
                  <a:cubicBezTo>
                    <a:pt x="160755" y="68669"/>
                    <a:pt x="168309" y="79498"/>
                    <a:pt x="171079" y="91335"/>
                  </a:cubicBezTo>
                  <a:cubicBezTo>
                    <a:pt x="174604" y="106949"/>
                    <a:pt x="169065" y="121137"/>
                    <a:pt x="163693" y="134736"/>
                  </a:cubicBezTo>
                  <a:cubicBezTo>
                    <a:pt x="160671" y="142375"/>
                    <a:pt x="157817" y="149595"/>
                    <a:pt x="156474" y="157066"/>
                  </a:cubicBezTo>
                  <a:cubicBezTo>
                    <a:pt x="154040" y="170330"/>
                    <a:pt x="149675" y="179816"/>
                    <a:pt x="143464" y="190729"/>
                  </a:cubicBezTo>
                  <a:cubicBezTo>
                    <a:pt x="132553" y="209701"/>
                    <a:pt x="114507" y="219691"/>
                    <a:pt x="86724" y="222209"/>
                  </a:cubicBezTo>
                  <a:cubicBezTo>
                    <a:pt x="73966" y="223385"/>
                    <a:pt x="65153" y="225651"/>
                    <a:pt x="56339" y="230184"/>
                  </a:cubicBezTo>
                  <a:cubicBezTo>
                    <a:pt x="48533" y="234214"/>
                    <a:pt x="49205" y="238579"/>
                    <a:pt x="55165" y="250500"/>
                  </a:cubicBezTo>
                  <a:cubicBezTo>
                    <a:pt x="57011" y="254278"/>
                    <a:pt x="59109" y="257971"/>
                    <a:pt x="61208" y="261749"/>
                  </a:cubicBezTo>
                  <a:cubicBezTo>
                    <a:pt x="70357" y="278035"/>
                    <a:pt x="79757" y="294908"/>
                    <a:pt x="72035" y="315895"/>
                  </a:cubicBezTo>
                  <a:cubicBezTo>
                    <a:pt x="68426" y="325801"/>
                    <a:pt x="61963" y="333944"/>
                    <a:pt x="55668" y="341835"/>
                  </a:cubicBezTo>
                  <a:cubicBezTo>
                    <a:pt x="51471" y="347040"/>
                    <a:pt x="47610" y="351993"/>
                    <a:pt x="44505" y="357365"/>
                  </a:cubicBezTo>
                  <a:cubicBezTo>
                    <a:pt x="41147" y="363158"/>
                    <a:pt x="37454" y="368950"/>
                    <a:pt x="33761" y="374658"/>
                  </a:cubicBezTo>
                  <a:cubicBezTo>
                    <a:pt x="29648" y="381038"/>
                    <a:pt x="25871" y="387083"/>
                    <a:pt x="22514" y="393043"/>
                  </a:cubicBezTo>
                  <a:cubicBezTo>
                    <a:pt x="21842" y="394218"/>
                    <a:pt x="21170" y="395561"/>
                    <a:pt x="20415" y="396989"/>
                  </a:cubicBezTo>
                  <a:cubicBezTo>
                    <a:pt x="15883" y="405635"/>
                    <a:pt x="9504" y="417472"/>
                    <a:pt x="187" y="421501"/>
                  </a:cubicBezTo>
                  <a:lnTo>
                    <a:pt x="187" y="429476"/>
                  </a:lnTo>
                  <a:cubicBezTo>
                    <a:pt x="-317" y="458019"/>
                    <a:pt x="-653" y="482615"/>
                    <a:pt x="11182" y="508303"/>
                  </a:cubicBezTo>
                  <a:cubicBezTo>
                    <a:pt x="21842" y="531473"/>
                    <a:pt x="43078" y="555566"/>
                    <a:pt x="74385" y="579743"/>
                  </a:cubicBezTo>
                  <a:cubicBezTo>
                    <a:pt x="82023" y="585703"/>
                    <a:pt x="87815" y="592083"/>
                    <a:pt x="94027" y="598883"/>
                  </a:cubicBezTo>
                  <a:lnTo>
                    <a:pt x="98307" y="603584"/>
                  </a:lnTo>
                  <a:cubicBezTo>
                    <a:pt x="100825" y="606354"/>
                    <a:pt x="104266" y="609040"/>
                    <a:pt x="107792" y="611894"/>
                  </a:cubicBezTo>
                  <a:cubicBezTo>
                    <a:pt x="113667" y="616595"/>
                    <a:pt x="119711" y="621381"/>
                    <a:pt x="123236" y="627425"/>
                  </a:cubicBezTo>
                  <a:cubicBezTo>
                    <a:pt x="132133" y="642283"/>
                    <a:pt x="131965" y="657982"/>
                    <a:pt x="131797" y="673176"/>
                  </a:cubicBezTo>
                  <a:cubicBezTo>
                    <a:pt x="131797" y="679724"/>
                    <a:pt x="131713" y="686440"/>
                    <a:pt x="132384" y="693072"/>
                  </a:cubicBezTo>
                  <a:cubicBezTo>
                    <a:pt x="132972" y="698444"/>
                    <a:pt x="134147" y="700291"/>
                    <a:pt x="135070" y="700879"/>
                  </a:cubicBezTo>
                  <a:cubicBezTo>
                    <a:pt x="136078" y="701550"/>
                    <a:pt x="138512" y="701802"/>
                    <a:pt x="144388" y="699704"/>
                  </a:cubicBezTo>
                  <a:cubicBezTo>
                    <a:pt x="151354" y="697269"/>
                    <a:pt x="158656" y="693995"/>
                    <a:pt x="165707" y="690805"/>
                  </a:cubicBezTo>
                  <a:lnTo>
                    <a:pt x="172590" y="687699"/>
                  </a:lnTo>
                  <a:cubicBezTo>
                    <a:pt x="187194" y="681235"/>
                    <a:pt x="196427" y="684005"/>
                    <a:pt x="201548" y="687364"/>
                  </a:cubicBezTo>
                  <a:cubicBezTo>
                    <a:pt x="209941" y="692904"/>
                    <a:pt x="214221" y="704069"/>
                    <a:pt x="214138" y="719767"/>
                  </a:cubicBezTo>
                  <a:cubicBezTo>
                    <a:pt x="213970" y="740754"/>
                    <a:pt x="212123" y="763168"/>
                    <a:pt x="200288" y="784071"/>
                  </a:cubicBezTo>
                  <a:cubicBezTo>
                    <a:pt x="193825" y="795488"/>
                    <a:pt x="185264" y="817818"/>
                    <a:pt x="200792" y="839141"/>
                  </a:cubicBezTo>
                  <a:cubicBezTo>
                    <a:pt x="209773" y="851481"/>
                    <a:pt x="226308" y="862310"/>
                    <a:pt x="240997" y="871964"/>
                  </a:cubicBezTo>
                  <a:cubicBezTo>
                    <a:pt x="245277" y="874735"/>
                    <a:pt x="249390" y="877421"/>
                    <a:pt x="253083" y="880023"/>
                  </a:cubicBezTo>
                  <a:cubicBezTo>
                    <a:pt x="257784" y="883297"/>
                    <a:pt x="262317" y="885648"/>
                    <a:pt x="267184" y="888166"/>
                  </a:cubicBezTo>
                  <a:cubicBezTo>
                    <a:pt x="271465" y="890349"/>
                    <a:pt x="275830" y="892615"/>
                    <a:pt x="280362" y="895554"/>
                  </a:cubicBezTo>
                  <a:cubicBezTo>
                    <a:pt x="310999" y="915365"/>
                    <a:pt x="341215" y="941641"/>
                    <a:pt x="332654" y="985965"/>
                  </a:cubicBezTo>
                  <a:cubicBezTo>
                    <a:pt x="331983" y="989491"/>
                    <a:pt x="331227" y="992513"/>
                    <a:pt x="330472" y="995283"/>
                  </a:cubicBezTo>
                  <a:cubicBezTo>
                    <a:pt x="328374" y="1003510"/>
                    <a:pt x="327114" y="1008463"/>
                    <a:pt x="330640" y="1018537"/>
                  </a:cubicBezTo>
                  <a:cubicBezTo>
                    <a:pt x="332822" y="1024917"/>
                    <a:pt x="338865" y="1035410"/>
                    <a:pt x="344741" y="1037593"/>
                  </a:cubicBezTo>
                  <a:cubicBezTo>
                    <a:pt x="346419" y="1038265"/>
                    <a:pt x="347931" y="1038097"/>
                    <a:pt x="349525" y="1037173"/>
                  </a:cubicBezTo>
                  <a:lnTo>
                    <a:pt x="349525" y="1037341"/>
                  </a:lnTo>
                  <a:cubicBezTo>
                    <a:pt x="350868" y="1036250"/>
                    <a:pt x="352127" y="1035242"/>
                    <a:pt x="353302" y="1034151"/>
                  </a:cubicBezTo>
                  <a:cubicBezTo>
                    <a:pt x="356240" y="1031465"/>
                    <a:pt x="359262" y="1028694"/>
                    <a:pt x="362955" y="1026428"/>
                  </a:cubicBezTo>
                  <a:cubicBezTo>
                    <a:pt x="369334" y="1022398"/>
                    <a:pt x="374118" y="1019209"/>
                    <a:pt x="378567" y="1013584"/>
                  </a:cubicBezTo>
                  <a:cubicBezTo>
                    <a:pt x="384778" y="1005777"/>
                    <a:pt x="392500" y="996039"/>
                    <a:pt x="404587" y="994108"/>
                  </a:cubicBezTo>
                  <a:cubicBezTo>
                    <a:pt x="413819" y="992681"/>
                    <a:pt x="418855" y="996459"/>
                    <a:pt x="423724" y="1000152"/>
                  </a:cubicBezTo>
                  <a:cubicBezTo>
                    <a:pt x="425487" y="1001496"/>
                    <a:pt x="427417" y="1002923"/>
                    <a:pt x="429683" y="1004182"/>
                  </a:cubicBezTo>
                  <a:cubicBezTo>
                    <a:pt x="434216" y="1006700"/>
                    <a:pt x="438244" y="1009387"/>
                    <a:pt x="442525" y="1012157"/>
                  </a:cubicBezTo>
                  <a:lnTo>
                    <a:pt x="444036" y="1013164"/>
                  </a:lnTo>
                  <a:cubicBezTo>
                    <a:pt x="445631" y="1014172"/>
                    <a:pt x="447058" y="1015179"/>
                    <a:pt x="448317" y="1016102"/>
                  </a:cubicBezTo>
                  <a:cubicBezTo>
                    <a:pt x="453437" y="1019712"/>
                    <a:pt x="456291" y="1021643"/>
                    <a:pt x="462838" y="1022315"/>
                  </a:cubicBezTo>
                  <a:cubicBezTo>
                    <a:pt x="467202" y="1022734"/>
                    <a:pt x="470392" y="1021559"/>
                    <a:pt x="472155" y="1018621"/>
                  </a:cubicBezTo>
                  <a:cubicBezTo>
                    <a:pt x="473078" y="1017026"/>
                    <a:pt x="473581" y="1015431"/>
                    <a:pt x="473833" y="1013164"/>
                  </a:cubicBezTo>
                  <a:cubicBezTo>
                    <a:pt x="474085" y="1010562"/>
                    <a:pt x="473246" y="1007792"/>
                    <a:pt x="472406" y="1004937"/>
                  </a:cubicBezTo>
                  <a:cubicBezTo>
                    <a:pt x="471651" y="1002503"/>
                    <a:pt x="470895" y="999900"/>
                    <a:pt x="470644" y="997130"/>
                  </a:cubicBezTo>
                  <a:cubicBezTo>
                    <a:pt x="470560" y="995871"/>
                    <a:pt x="470392" y="994528"/>
                    <a:pt x="470224" y="993269"/>
                  </a:cubicBezTo>
                  <a:cubicBezTo>
                    <a:pt x="469720" y="988903"/>
                    <a:pt x="469133" y="984370"/>
                    <a:pt x="469637" y="979669"/>
                  </a:cubicBezTo>
                  <a:cubicBezTo>
                    <a:pt x="471147" y="966070"/>
                    <a:pt x="484745" y="959690"/>
                    <a:pt x="495656" y="954569"/>
                  </a:cubicBezTo>
                  <a:cubicBezTo>
                    <a:pt x="498510" y="953226"/>
                    <a:pt x="501196" y="951966"/>
                    <a:pt x="503462" y="950707"/>
                  </a:cubicBezTo>
                  <a:cubicBezTo>
                    <a:pt x="516640" y="943236"/>
                    <a:pt x="525873" y="924432"/>
                    <a:pt x="527888" y="910580"/>
                  </a:cubicBezTo>
                  <a:cubicBezTo>
                    <a:pt x="529482" y="899751"/>
                    <a:pt x="528895" y="887578"/>
                    <a:pt x="528307" y="875826"/>
                  </a:cubicBezTo>
                  <a:cubicBezTo>
                    <a:pt x="528055" y="869782"/>
                    <a:pt x="527720" y="863821"/>
                    <a:pt x="527720" y="858113"/>
                  </a:cubicBezTo>
                  <a:cubicBezTo>
                    <a:pt x="527720" y="827136"/>
                    <a:pt x="534770" y="801280"/>
                    <a:pt x="549291" y="779034"/>
                  </a:cubicBezTo>
                  <a:cubicBezTo>
                    <a:pt x="554075" y="771647"/>
                    <a:pt x="557936" y="763336"/>
                    <a:pt x="561629" y="755361"/>
                  </a:cubicBezTo>
                  <a:cubicBezTo>
                    <a:pt x="563308" y="751751"/>
                    <a:pt x="564987" y="748058"/>
                    <a:pt x="566749" y="744532"/>
                  </a:cubicBezTo>
                  <a:cubicBezTo>
                    <a:pt x="569771" y="738488"/>
                    <a:pt x="573212" y="732863"/>
                    <a:pt x="576486" y="727406"/>
                  </a:cubicBezTo>
                  <a:cubicBezTo>
                    <a:pt x="586055" y="711876"/>
                    <a:pt x="594280" y="698444"/>
                    <a:pt x="590755" y="679388"/>
                  </a:cubicBezTo>
                  <a:cubicBezTo>
                    <a:pt x="588824" y="668979"/>
                    <a:pt x="582697" y="661256"/>
                    <a:pt x="576150" y="653029"/>
                  </a:cubicBezTo>
                  <a:cubicBezTo>
                    <a:pt x="571786" y="647488"/>
                    <a:pt x="567253" y="641780"/>
                    <a:pt x="563812" y="634980"/>
                  </a:cubicBezTo>
                  <a:cubicBezTo>
                    <a:pt x="560790" y="629104"/>
                    <a:pt x="557601" y="621213"/>
                    <a:pt x="559279" y="612063"/>
                  </a:cubicBezTo>
                  <a:cubicBezTo>
                    <a:pt x="560287" y="606354"/>
                    <a:pt x="563560" y="601569"/>
                    <a:pt x="566414" y="597372"/>
                  </a:cubicBezTo>
                  <a:cubicBezTo>
                    <a:pt x="568092" y="594937"/>
                    <a:pt x="569687" y="592587"/>
                    <a:pt x="570778" y="590236"/>
                  </a:cubicBezTo>
                  <a:cubicBezTo>
                    <a:pt x="578332" y="573698"/>
                    <a:pt x="584964" y="556489"/>
                    <a:pt x="576738" y="544484"/>
                  </a:cubicBezTo>
                  <a:cubicBezTo>
                    <a:pt x="568680" y="532648"/>
                    <a:pt x="566162" y="524421"/>
                    <a:pt x="566162" y="509227"/>
                  </a:cubicBezTo>
                  <a:cubicBezTo>
                    <a:pt x="566162" y="502595"/>
                    <a:pt x="565322" y="496718"/>
                    <a:pt x="564399" y="490506"/>
                  </a:cubicBezTo>
                  <a:cubicBezTo>
                    <a:pt x="564147" y="488491"/>
                    <a:pt x="563812" y="486393"/>
                    <a:pt x="563560" y="484210"/>
                  </a:cubicBezTo>
                  <a:lnTo>
                    <a:pt x="563308" y="484210"/>
                  </a:lnTo>
                  <a:cubicBezTo>
                    <a:pt x="563308" y="484210"/>
                    <a:pt x="562804" y="476403"/>
                    <a:pt x="562804" y="476403"/>
                  </a:cubicBezTo>
                  <a:cubicBezTo>
                    <a:pt x="562804" y="476235"/>
                    <a:pt x="562804" y="476067"/>
                    <a:pt x="562804" y="475899"/>
                  </a:cubicBezTo>
                  <a:lnTo>
                    <a:pt x="562804" y="475899"/>
                  </a:lnTo>
                  <a:lnTo>
                    <a:pt x="538799" y="118786"/>
                  </a:lnTo>
                  <a:cubicBezTo>
                    <a:pt x="525621" y="110811"/>
                    <a:pt x="519074" y="95868"/>
                    <a:pt x="512275" y="78743"/>
                  </a:cubicBezTo>
                  <a:cubicBezTo>
                    <a:pt x="502371" y="53894"/>
                    <a:pt x="501280" y="26360"/>
                    <a:pt x="493306" y="252"/>
                  </a:cubicBezTo>
                  <a:cubicBezTo>
                    <a:pt x="493306" y="252"/>
                    <a:pt x="493306" y="84"/>
                    <a:pt x="493306" y="0"/>
                  </a:cubicBezTo>
                  <a:lnTo>
                    <a:pt x="101580" y="21155"/>
                  </a:lnTo>
                  <a:cubicBezTo>
                    <a:pt x="102420" y="22918"/>
                    <a:pt x="103175" y="24681"/>
                    <a:pt x="103931" y="26444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F5C541E2-0C3A-8383-10B4-0231AE8FF405}"/>
                </a:ext>
              </a:extLst>
            </p:cNvPr>
            <p:cNvSpPr/>
            <p:nvPr/>
          </p:nvSpPr>
          <p:spPr>
            <a:xfrm>
              <a:off x="9467664" y="4583022"/>
              <a:ext cx="499855" cy="870014"/>
            </a:xfrm>
            <a:custGeom>
              <a:avLst/>
              <a:gdLst>
                <a:gd name="connsiteX0" fmla="*/ 190714 w 553398"/>
                <a:gd name="connsiteY0" fmla="*/ 872636 h 963207"/>
                <a:gd name="connsiteX1" fmla="*/ 190714 w 553398"/>
                <a:gd name="connsiteY1" fmla="*/ 869782 h 963207"/>
                <a:gd name="connsiteX2" fmla="*/ 170738 w 553398"/>
                <a:gd name="connsiteY2" fmla="*/ 829990 h 963207"/>
                <a:gd name="connsiteX3" fmla="*/ 169311 w 553398"/>
                <a:gd name="connsiteY3" fmla="*/ 828647 h 963207"/>
                <a:gd name="connsiteX4" fmla="*/ 162176 w 553398"/>
                <a:gd name="connsiteY4" fmla="*/ 822267 h 963207"/>
                <a:gd name="connsiteX5" fmla="*/ 140437 w 553398"/>
                <a:gd name="connsiteY5" fmla="*/ 791962 h 963207"/>
                <a:gd name="connsiteX6" fmla="*/ 147907 w 553398"/>
                <a:gd name="connsiteY6" fmla="*/ 776600 h 963207"/>
                <a:gd name="connsiteX7" fmla="*/ 553398 w 553398"/>
                <a:gd name="connsiteY7" fmla="*/ 739914 h 963207"/>
                <a:gd name="connsiteX8" fmla="*/ 539633 w 553398"/>
                <a:gd name="connsiteY8" fmla="*/ 706084 h 963207"/>
                <a:gd name="connsiteX9" fmla="*/ 538206 w 553398"/>
                <a:gd name="connsiteY9" fmla="*/ 668895 h 963207"/>
                <a:gd name="connsiteX10" fmla="*/ 533925 w 553398"/>
                <a:gd name="connsiteY10" fmla="*/ 618526 h 963207"/>
                <a:gd name="connsiteX11" fmla="*/ 526371 w 553398"/>
                <a:gd name="connsiteY11" fmla="*/ 602240 h 963207"/>
                <a:gd name="connsiteX12" fmla="*/ 517222 w 553398"/>
                <a:gd name="connsiteY12" fmla="*/ 574286 h 963207"/>
                <a:gd name="connsiteX13" fmla="*/ 521503 w 553398"/>
                <a:gd name="connsiteY13" fmla="*/ 529710 h 963207"/>
                <a:gd name="connsiteX14" fmla="*/ 533338 w 553398"/>
                <a:gd name="connsiteY14" fmla="*/ 511661 h 963207"/>
                <a:gd name="connsiteX15" fmla="*/ 542403 w 553398"/>
                <a:gd name="connsiteY15" fmla="*/ 495711 h 963207"/>
                <a:gd name="connsiteX16" fmla="*/ 527211 w 553398"/>
                <a:gd name="connsiteY16" fmla="*/ 460117 h 963207"/>
                <a:gd name="connsiteX17" fmla="*/ 526287 w 553398"/>
                <a:gd name="connsiteY17" fmla="*/ 458690 h 963207"/>
                <a:gd name="connsiteX18" fmla="*/ 494644 w 553398"/>
                <a:gd name="connsiteY18" fmla="*/ 375162 h 963207"/>
                <a:gd name="connsiteX19" fmla="*/ 493720 w 553398"/>
                <a:gd name="connsiteY19" fmla="*/ 371301 h 963207"/>
                <a:gd name="connsiteX20" fmla="*/ 484487 w 553398"/>
                <a:gd name="connsiteY20" fmla="*/ 330250 h 963207"/>
                <a:gd name="connsiteX21" fmla="*/ 470051 w 553398"/>
                <a:gd name="connsiteY21" fmla="*/ 295664 h 963207"/>
                <a:gd name="connsiteX22" fmla="*/ 457292 w 553398"/>
                <a:gd name="connsiteY22" fmla="*/ 267709 h 963207"/>
                <a:gd name="connsiteX23" fmla="*/ 452340 w 553398"/>
                <a:gd name="connsiteY23" fmla="*/ 254278 h 963207"/>
                <a:gd name="connsiteX24" fmla="*/ 443191 w 553398"/>
                <a:gd name="connsiteY24" fmla="*/ 226995 h 963207"/>
                <a:gd name="connsiteX25" fmla="*/ 440170 w 553398"/>
                <a:gd name="connsiteY25" fmla="*/ 213227 h 963207"/>
                <a:gd name="connsiteX26" fmla="*/ 432112 w 553398"/>
                <a:gd name="connsiteY26" fmla="*/ 184181 h 963207"/>
                <a:gd name="connsiteX27" fmla="*/ 419186 w 553398"/>
                <a:gd name="connsiteY27" fmla="*/ 142207 h 963207"/>
                <a:gd name="connsiteX28" fmla="*/ 404245 w 553398"/>
                <a:gd name="connsiteY28" fmla="*/ 96204 h 963207"/>
                <a:gd name="connsiteX29" fmla="*/ 392243 w 553398"/>
                <a:gd name="connsiteY29" fmla="*/ 52215 h 963207"/>
                <a:gd name="connsiteX30" fmla="*/ 389892 w 553398"/>
                <a:gd name="connsiteY30" fmla="*/ 39203 h 963207"/>
                <a:gd name="connsiteX31" fmla="*/ 383597 w 553398"/>
                <a:gd name="connsiteY31" fmla="*/ 16034 h 963207"/>
                <a:gd name="connsiteX32" fmla="*/ 379065 w 553398"/>
                <a:gd name="connsiteY32" fmla="*/ 0 h 963207"/>
                <a:gd name="connsiteX33" fmla="*/ 1776 w 553398"/>
                <a:gd name="connsiteY33" fmla="*/ 27871 h 963207"/>
                <a:gd name="connsiteX34" fmla="*/ 1776 w 553398"/>
                <a:gd name="connsiteY34" fmla="*/ 551704 h 963207"/>
                <a:gd name="connsiteX35" fmla="*/ 24186 w 553398"/>
                <a:gd name="connsiteY35" fmla="*/ 927706 h 963207"/>
                <a:gd name="connsiteX36" fmla="*/ 59607 w 553398"/>
                <a:gd name="connsiteY36" fmla="*/ 931819 h 963207"/>
                <a:gd name="connsiteX37" fmla="*/ 93937 w 553398"/>
                <a:gd name="connsiteY37" fmla="*/ 844513 h 963207"/>
                <a:gd name="connsiteX38" fmla="*/ 122643 w 553398"/>
                <a:gd name="connsiteY38" fmla="*/ 962460 h 963207"/>
                <a:gd name="connsiteX39" fmla="*/ 187273 w 553398"/>
                <a:gd name="connsiteY39" fmla="*/ 910580 h 963207"/>
                <a:gd name="connsiteX40" fmla="*/ 190630 w 553398"/>
                <a:gd name="connsiteY40" fmla="*/ 872468 h 96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53398" h="963207">
                  <a:moveTo>
                    <a:pt x="190714" y="872636"/>
                  </a:moveTo>
                  <a:lnTo>
                    <a:pt x="190714" y="869782"/>
                  </a:lnTo>
                  <a:cubicBezTo>
                    <a:pt x="189875" y="848711"/>
                    <a:pt x="185846" y="844765"/>
                    <a:pt x="170738" y="829990"/>
                  </a:cubicBezTo>
                  <a:lnTo>
                    <a:pt x="169311" y="828647"/>
                  </a:lnTo>
                  <a:cubicBezTo>
                    <a:pt x="167296" y="826633"/>
                    <a:pt x="164778" y="824534"/>
                    <a:pt x="162176" y="822267"/>
                  </a:cubicBezTo>
                  <a:cubicBezTo>
                    <a:pt x="152104" y="813537"/>
                    <a:pt x="140605" y="803715"/>
                    <a:pt x="140437" y="791962"/>
                  </a:cubicBezTo>
                  <a:cubicBezTo>
                    <a:pt x="140437" y="786422"/>
                    <a:pt x="142871" y="781301"/>
                    <a:pt x="147907" y="776600"/>
                  </a:cubicBezTo>
                  <a:cubicBezTo>
                    <a:pt x="159070" y="766358"/>
                    <a:pt x="451921" y="746462"/>
                    <a:pt x="553398" y="739914"/>
                  </a:cubicBezTo>
                  <a:cubicBezTo>
                    <a:pt x="546767" y="729673"/>
                    <a:pt x="541312" y="718676"/>
                    <a:pt x="539633" y="706084"/>
                  </a:cubicBezTo>
                  <a:cubicBezTo>
                    <a:pt x="537954" y="693911"/>
                    <a:pt x="538122" y="681151"/>
                    <a:pt x="538206" y="668895"/>
                  </a:cubicBezTo>
                  <a:cubicBezTo>
                    <a:pt x="538374" y="651938"/>
                    <a:pt x="538542" y="634392"/>
                    <a:pt x="533925" y="618526"/>
                  </a:cubicBezTo>
                  <a:cubicBezTo>
                    <a:pt x="532163" y="612398"/>
                    <a:pt x="529225" y="607277"/>
                    <a:pt x="526371" y="602240"/>
                  </a:cubicBezTo>
                  <a:cubicBezTo>
                    <a:pt x="521839" y="594266"/>
                    <a:pt x="517138" y="586123"/>
                    <a:pt x="517222" y="574286"/>
                  </a:cubicBezTo>
                  <a:cubicBezTo>
                    <a:pt x="517222" y="559259"/>
                    <a:pt x="517810" y="542134"/>
                    <a:pt x="521503" y="529710"/>
                  </a:cubicBezTo>
                  <a:cubicBezTo>
                    <a:pt x="523937" y="521483"/>
                    <a:pt x="528973" y="516278"/>
                    <a:pt x="533338" y="511661"/>
                  </a:cubicBezTo>
                  <a:cubicBezTo>
                    <a:pt x="538206" y="506624"/>
                    <a:pt x="541983" y="502595"/>
                    <a:pt x="542403" y="495711"/>
                  </a:cubicBezTo>
                  <a:cubicBezTo>
                    <a:pt x="543074" y="484042"/>
                    <a:pt x="533925" y="470191"/>
                    <a:pt x="527211" y="460117"/>
                  </a:cubicBezTo>
                  <a:lnTo>
                    <a:pt x="526287" y="458690"/>
                  </a:lnTo>
                  <a:cubicBezTo>
                    <a:pt x="508409" y="431575"/>
                    <a:pt x="501694" y="404208"/>
                    <a:pt x="494644" y="375162"/>
                  </a:cubicBezTo>
                  <a:lnTo>
                    <a:pt x="493720" y="371301"/>
                  </a:lnTo>
                  <a:cubicBezTo>
                    <a:pt x="490111" y="356442"/>
                    <a:pt x="487257" y="343765"/>
                    <a:pt x="484487" y="330250"/>
                  </a:cubicBezTo>
                  <a:cubicBezTo>
                    <a:pt x="482305" y="319337"/>
                    <a:pt x="476094" y="307332"/>
                    <a:pt x="470051" y="295664"/>
                  </a:cubicBezTo>
                  <a:cubicBezTo>
                    <a:pt x="465350" y="286513"/>
                    <a:pt x="460482" y="277027"/>
                    <a:pt x="457292" y="267709"/>
                  </a:cubicBezTo>
                  <a:cubicBezTo>
                    <a:pt x="455782" y="263176"/>
                    <a:pt x="454019" y="258727"/>
                    <a:pt x="452340" y="254278"/>
                  </a:cubicBezTo>
                  <a:cubicBezTo>
                    <a:pt x="448983" y="245463"/>
                    <a:pt x="445541" y="236397"/>
                    <a:pt x="443191" y="226995"/>
                  </a:cubicBezTo>
                  <a:cubicBezTo>
                    <a:pt x="442016" y="222293"/>
                    <a:pt x="441093" y="217760"/>
                    <a:pt x="440170" y="213227"/>
                  </a:cubicBezTo>
                  <a:cubicBezTo>
                    <a:pt x="438155" y="203405"/>
                    <a:pt x="436225" y="194087"/>
                    <a:pt x="432112" y="184181"/>
                  </a:cubicBezTo>
                  <a:cubicBezTo>
                    <a:pt x="426404" y="170582"/>
                    <a:pt x="422711" y="156226"/>
                    <a:pt x="419186" y="142207"/>
                  </a:cubicBezTo>
                  <a:cubicBezTo>
                    <a:pt x="415073" y="125921"/>
                    <a:pt x="411128" y="110559"/>
                    <a:pt x="404245" y="96204"/>
                  </a:cubicBezTo>
                  <a:cubicBezTo>
                    <a:pt x="397363" y="81849"/>
                    <a:pt x="394761" y="66822"/>
                    <a:pt x="392243" y="52215"/>
                  </a:cubicBezTo>
                  <a:cubicBezTo>
                    <a:pt x="391487" y="47850"/>
                    <a:pt x="390732" y="43569"/>
                    <a:pt x="389892" y="39203"/>
                  </a:cubicBezTo>
                  <a:cubicBezTo>
                    <a:pt x="388297" y="31229"/>
                    <a:pt x="386032" y="23841"/>
                    <a:pt x="383597" y="16034"/>
                  </a:cubicBezTo>
                  <a:cubicBezTo>
                    <a:pt x="382002" y="10829"/>
                    <a:pt x="380492" y="5541"/>
                    <a:pt x="379065" y="0"/>
                  </a:cubicBezTo>
                  <a:lnTo>
                    <a:pt x="1776" y="27871"/>
                  </a:lnTo>
                  <a:cubicBezTo>
                    <a:pt x="1356" y="68921"/>
                    <a:pt x="-2001" y="428301"/>
                    <a:pt x="1776" y="551704"/>
                  </a:cubicBezTo>
                  <a:cubicBezTo>
                    <a:pt x="4378" y="635988"/>
                    <a:pt x="21081" y="881366"/>
                    <a:pt x="24186" y="927706"/>
                  </a:cubicBezTo>
                  <a:cubicBezTo>
                    <a:pt x="36022" y="930560"/>
                    <a:pt x="46514" y="934337"/>
                    <a:pt x="59607" y="931819"/>
                  </a:cubicBezTo>
                  <a:cubicBezTo>
                    <a:pt x="74968" y="928881"/>
                    <a:pt x="82606" y="832425"/>
                    <a:pt x="93937" y="844513"/>
                  </a:cubicBezTo>
                  <a:cubicBezTo>
                    <a:pt x="99561" y="850474"/>
                    <a:pt x="91167" y="954821"/>
                    <a:pt x="122643" y="962460"/>
                  </a:cubicBezTo>
                  <a:cubicBezTo>
                    <a:pt x="150845" y="969344"/>
                    <a:pt x="163519" y="926866"/>
                    <a:pt x="187273" y="910580"/>
                  </a:cubicBezTo>
                  <a:cubicBezTo>
                    <a:pt x="191721" y="900842"/>
                    <a:pt x="190966" y="881199"/>
                    <a:pt x="190630" y="872468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72FA40C1-FFEC-F1B8-60C7-BE5C581ADB3E}"/>
                </a:ext>
              </a:extLst>
            </p:cNvPr>
            <p:cNvSpPr/>
            <p:nvPr/>
          </p:nvSpPr>
          <p:spPr>
            <a:xfrm>
              <a:off x="9531768" y="2742013"/>
              <a:ext cx="512074" cy="692101"/>
            </a:xfrm>
            <a:custGeom>
              <a:avLst/>
              <a:gdLst>
                <a:gd name="connsiteX0" fmla="*/ 290301 w 566926"/>
                <a:gd name="connsiteY0" fmla="*/ 755996 h 766237"/>
                <a:gd name="connsiteX1" fmla="*/ 476973 w 566926"/>
                <a:gd name="connsiteY1" fmla="*/ 716205 h 766237"/>
                <a:gd name="connsiteX2" fmla="*/ 472776 w 566926"/>
                <a:gd name="connsiteY2" fmla="*/ 694378 h 766237"/>
                <a:gd name="connsiteX3" fmla="*/ 486793 w 566926"/>
                <a:gd name="connsiteY3" fmla="*/ 656266 h 766237"/>
                <a:gd name="connsiteX4" fmla="*/ 502573 w 566926"/>
                <a:gd name="connsiteY4" fmla="*/ 609004 h 766237"/>
                <a:gd name="connsiteX5" fmla="*/ 528509 w 566926"/>
                <a:gd name="connsiteY5" fmla="*/ 584827 h 766237"/>
                <a:gd name="connsiteX6" fmla="*/ 533125 w 566926"/>
                <a:gd name="connsiteY6" fmla="*/ 543608 h 766237"/>
                <a:gd name="connsiteX7" fmla="*/ 563678 w 566926"/>
                <a:gd name="connsiteY7" fmla="*/ 534710 h 766237"/>
                <a:gd name="connsiteX8" fmla="*/ 566448 w 566926"/>
                <a:gd name="connsiteY8" fmla="*/ 501131 h 766237"/>
                <a:gd name="connsiteX9" fmla="*/ 550751 w 566926"/>
                <a:gd name="connsiteY9" fmla="*/ 412566 h 766237"/>
                <a:gd name="connsiteX10" fmla="*/ 534552 w 566926"/>
                <a:gd name="connsiteY10" fmla="*/ 371264 h 766237"/>
                <a:gd name="connsiteX11" fmla="*/ 525907 w 566926"/>
                <a:gd name="connsiteY11" fmla="*/ 332060 h 766237"/>
                <a:gd name="connsiteX12" fmla="*/ 506014 w 566926"/>
                <a:gd name="connsiteY12" fmla="*/ 293193 h 766237"/>
                <a:gd name="connsiteX13" fmla="*/ 461445 w 566926"/>
                <a:gd name="connsiteY13" fmla="*/ 294284 h 766237"/>
                <a:gd name="connsiteX14" fmla="*/ 419645 w 566926"/>
                <a:gd name="connsiteY14" fmla="*/ 358672 h 766237"/>
                <a:gd name="connsiteX15" fmla="*/ 353840 w 566926"/>
                <a:gd name="connsiteY15" fmla="*/ 376805 h 766237"/>
                <a:gd name="connsiteX16" fmla="*/ 348216 w 566926"/>
                <a:gd name="connsiteY16" fmla="*/ 335083 h 766237"/>
                <a:gd name="connsiteX17" fmla="*/ 377594 w 566926"/>
                <a:gd name="connsiteY17" fmla="*/ 304190 h 766237"/>
                <a:gd name="connsiteX18" fmla="*/ 391611 w 566926"/>
                <a:gd name="connsiteY18" fmla="*/ 267337 h 766237"/>
                <a:gd name="connsiteX19" fmla="*/ 412594 w 566926"/>
                <a:gd name="connsiteY19" fmla="*/ 230148 h 766237"/>
                <a:gd name="connsiteX20" fmla="*/ 403445 w 566926"/>
                <a:gd name="connsiteY20" fmla="*/ 156106 h 766237"/>
                <a:gd name="connsiteX21" fmla="*/ 380363 w 566926"/>
                <a:gd name="connsiteY21" fmla="*/ 126389 h 766237"/>
                <a:gd name="connsiteX22" fmla="*/ 390603 w 566926"/>
                <a:gd name="connsiteY22" fmla="*/ 106829 h 766237"/>
                <a:gd name="connsiteX23" fmla="*/ 391611 w 566926"/>
                <a:gd name="connsiteY23" fmla="*/ 88276 h 766237"/>
                <a:gd name="connsiteX24" fmla="*/ 325721 w 566926"/>
                <a:gd name="connsiteY24" fmla="*/ 45211 h 766237"/>
                <a:gd name="connsiteX25" fmla="*/ 248501 w 566926"/>
                <a:gd name="connsiteY25" fmla="*/ 12052 h 766237"/>
                <a:gd name="connsiteX26" fmla="*/ 167756 w 566926"/>
                <a:gd name="connsiteY26" fmla="*/ 9869 h 766237"/>
                <a:gd name="connsiteX27" fmla="*/ 163894 w 566926"/>
                <a:gd name="connsiteY27" fmla="*/ 45211 h 766237"/>
                <a:gd name="connsiteX28" fmla="*/ 151220 w 566926"/>
                <a:gd name="connsiteY28" fmla="*/ 84079 h 766237"/>
                <a:gd name="connsiteX29" fmla="*/ 136951 w 566926"/>
                <a:gd name="connsiteY29" fmla="*/ 126389 h 766237"/>
                <a:gd name="connsiteX30" fmla="*/ 133090 w 566926"/>
                <a:gd name="connsiteY30" fmla="*/ 171133 h 766237"/>
                <a:gd name="connsiteX31" fmla="*/ 113030 w 566926"/>
                <a:gd name="connsiteY31" fmla="*/ 154259 h 766237"/>
                <a:gd name="connsiteX32" fmla="*/ 107826 w 566926"/>
                <a:gd name="connsiteY32" fmla="*/ 113629 h 766237"/>
                <a:gd name="connsiteX33" fmla="*/ 77357 w 566926"/>
                <a:gd name="connsiteY33" fmla="*/ 150146 h 766237"/>
                <a:gd name="connsiteX34" fmla="*/ 32032 w 566926"/>
                <a:gd name="connsiteY34" fmla="*/ 217136 h 766237"/>
                <a:gd name="connsiteX35" fmla="*/ 28171 w 566926"/>
                <a:gd name="connsiteY35" fmla="*/ 273801 h 766237"/>
                <a:gd name="connsiteX36" fmla="*/ 1647 w 566926"/>
                <a:gd name="connsiteY36" fmla="*/ 334831 h 766237"/>
                <a:gd name="connsiteX37" fmla="*/ 6096 w 566926"/>
                <a:gd name="connsiteY37" fmla="*/ 398883 h 766237"/>
                <a:gd name="connsiteX38" fmla="*/ 3914 w 566926"/>
                <a:gd name="connsiteY38" fmla="*/ 432210 h 766237"/>
                <a:gd name="connsiteX39" fmla="*/ 16504 w 566926"/>
                <a:gd name="connsiteY39" fmla="*/ 464446 h 766237"/>
                <a:gd name="connsiteX40" fmla="*/ 50414 w 566926"/>
                <a:gd name="connsiteY40" fmla="*/ 526483 h 766237"/>
                <a:gd name="connsiteX41" fmla="*/ 67956 w 566926"/>
                <a:gd name="connsiteY41" fmla="*/ 590871 h 766237"/>
                <a:gd name="connsiteX42" fmla="*/ 62752 w 566926"/>
                <a:gd name="connsiteY42" fmla="*/ 630746 h 766237"/>
                <a:gd name="connsiteX43" fmla="*/ 59311 w 566926"/>
                <a:gd name="connsiteY43" fmla="*/ 668774 h 766237"/>
                <a:gd name="connsiteX44" fmla="*/ 34130 w 566926"/>
                <a:gd name="connsiteY44" fmla="*/ 735597 h 766237"/>
                <a:gd name="connsiteX45" fmla="*/ 11468 w 566926"/>
                <a:gd name="connsiteY45" fmla="*/ 756836 h 766237"/>
                <a:gd name="connsiteX46" fmla="*/ 2403 w 566926"/>
                <a:gd name="connsiteY46" fmla="*/ 766238 h 766237"/>
                <a:gd name="connsiteX47" fmla="*/ 288874 w 566926"/>
                <a:gd name="connsiteY47" fmla="*/ 742984 h 766237"/>
                <a:gd name="connsiteX48" fmla="*/ 289965 w 566926"/>
                <a:gd name="connsiteY48" fmla="*/ 755996 h 76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566926" h="766237">
                  <a:moveTo>
                    <a:pt x="290301" y="755996"/>
                  </a:moveTo>
                  <a:lnTo>
                    <a:pt x="476973" y="716205"/>
                  </a:lnTo>
                  <a:cubicBezTo>
                    <a:pt x="473447" y="710077"/>
                    <a:pt x="471685" y="702773"/>
                    <a:pt x="472776" y="694378"/>
                  </a:cubicBezTo>
                  <a:cubicBezTo>
                    <a:pt x="474287" y="682206"/>
                    <a:pt x="481925" y="668103"/>
                    <a:pt x="486793" y="656266"/>
                  </a:cubicBezTo>
                  <a:cubicBezTo>
                    <a:pt x="492836" y="641659"/>
                    <a:pt x="493928" y="622435"/>
                    <a:pt x="502573" y="609004"/>
                  </a:cubicBezTo>
                  <a:cubicBezTo>
                    <a:pt x="509371" y="598342"/>
                    <a:pt x="522885" y="596328"/>
                    <a:pt x="528509" y="584827"/>
                  </a:cubicBezTo>
                  <a:cubicBezTo>
                    <a:pt x="534300" y="572990"/>
                    <a:pt x="523809" y="552843"/>
                    <a:pt x="533125" y="543608"/>
                  </a:cubicBezTo>
                  <a:cubicBezTo>
                    <a:pt x="541938" y="534878"/>
                    <a:pt x="557383" y="545959"/>
                    <a:pt x="563678" y="534710"/>
                  </a:cubicBezTo>
                  <a:cubicBezTo>
                    <a:pt x="568630" y="525896"/>
                    <a:pt x="566448" y="511456"/>
                    <a:pt x="566448" y="501131"/>
                  </a:cubicBezTo>
                  <a:cubicBezTo>
                    <a:pt x="566448" y="468223"/>
                    <a:pt x="555284" y="443291"/>
                    <a:pt x="550751" y="412566"/>
                  </a:cubicBezTo>
                  <a:cubicBezTo>
                    <a:pt x="548149" y="395021"/>
                    <a:pt x="542526" y="385871"/>
                    <a:pt x="534552" y="371264"/>
                  </a:cubicBezTo>
                  <a:cubicBezTo>
                    <a:pt x="527166" y="357832"/>
                    <a:pt x="528844" y="346415"/>
                    <a:pt x="525907" y="332060"/>
                  </a:cubicBezTo>
                  <a:cubicBezTo>
                    <a:pt x="524144" y="323498"/>
                    <a:pt x="512393" y="297474"/>
                    <a:pt x="506014" y="293193"/>
                  </a:cubicBezTo>
                  <a:cubicBezTo>
                    <a:pt x="497369" y="287484"/>
                    <a:pt x="470509" y="291010"/>
                    <a:pt x="461445" y="294284"/>
                  </a:cubicBezTo>
                  <a:cubicBezTo>
                    <a:pt x="438614" y="302511"/>
                    <a:pt x="432823" y="339868"/>
                    <a:pt x="419645" y="358672"/>
                  </a:cubicBezTo>
                  <a:cubicBezTo>
                    <a:pt x="407054" y="376637"/>
                    <a:pt x="372222" y="397036"/>
                    <a:pt x="353840" y="376805"/>
                  </a:cubicBezTo>
                  <a:cubicBezTo>
                    <a:pt x="345698" y="367906"/>
                    <a:pt x="346957" y="347843"/>
                    <a:pt x="348216" y="335083"/>
                  </a:cubicBezTo>
                  <a:cubicBezTo>
                    <a:pt x="350315" y="314096"/>
                    <a:pt x="362149" y="313844"/>
                    <a:pt x="377594" y="304190"/>
                  </a:cubicBezTo>
                  <a:cubicBezTo>
                    <a:pt x="395052" y="293277"/>
                    <a:pt x="388589" y="284546"/>
                    <a:pt x="391611" y="267337"/>
                  </a:cubicBezTo>
                  <a:cubicBezTo>
                    <a:pt x="394213" y="252730"/>
                    <a:pt x="404788" y="242153"/>
                    <a:pt x="412594" y="230148"/>
                  </a:cubicBezTo>
                  <a:cubicBezTo>
                    <a:pt x="424513" y="212015"/>
                    <a:pt x="416372" y="173735"/>
                    <a:pt x="403445" y="156106"/>
                  </a:cubicBezTo>
                  <a:cubicBezTo>
                    <a:pt x="396646" y="146788"/>
                    <a:pt x="381203" y="137386"/>
                    <a:pt x="380363" y="126389"/>
                  </a:cubicBezTo>
                  <a:cubicBezTo>
                    <a:pt x="379775" y="118330"/>
                    <a:pt x="388505" y="113041"/>
                    <a:pt x="390603" y="106829"/>
                  </a:cubicBezTo>
                  <a:cubicBezTo>
                    <a:pt x="392450" y="101288"/>
                    <a:pt x="391862" y="94153"/>
                    <a:pt x="391611" y="88276"/>
                  </a:cubicBezTo>
                  <a:cubicBezTo>
                    <a:pt x="390184" y="54781"/>
                    <a:pt x="353336" y="52263"/>
                    <a:pt x="325721" y="45211"/>
                  </a:cubicBezTo>
                  <a:cubicBezTo>
                    <a:pt x="296764" y="37740"/>
                    <a:pt x="275948" y="26911"/>
                    <a:pt x="248501" y="12052"/>
                  </a:cubicBezTo>
                  <a:cubicBezTo>
                    <a:pt x="224495" y="-960"/>
                    <a:pt x="190754" y="-5913"/>
                    <a:pt x="167756" y="9869"/>
                  </a:cubicBezTo>
                  <a:cubicBezTo>
                    <a:pt x="153654" y="19523"/>
                    <a:pt x="157264" y="31948"/>
                    <a:pt x="163894" y="45211"/>
                  </a:cubicBezTo>
                  <a:cubicBezTo>
                    <a:pt x="173883" y="65359"/>
                    <a:pt x="169350" y="72410"/>
                    <a:pt x="151220" y="84079"/>
                  </a:cubicBezTo>
                  <a:cubicBezTo>
                    <a:pt x="135692" y="94069"/>
                    <a:pt x="136951" y="107668"/>
                    <a:pt x="136951" y="126389"/>
                  </a:cubicBezTo>
                  <a:cubicBezTo>
                    <a:pt x="136951" y="138309"/>
                    <a:pt x="141651" y="161731"/>
                    <a:pt x="133090" y="171133"/>
                  </a:cubicBezTo>
                  <a:cubicBezTo>
                    <a:pt x="118737" y="187083"/>
                    <a:pt x="112442" y="166935"/>
                    <a:pt x="113030" y="154259"/>
                  </a:cubicBezTo>
                  <a:cubicBezTo>
                    <a:pt x="113533" y="143598"/>
                    <a:pt x="118653" y="121771"/>
                    <a:pt x="107826" y="113629"/>
                  </a:cubicBezTo>
                  <a:cubicBezTo>
                    <a:pt x="91039" y="101036"/>
                    <a:pt x="82309" y="141247"/>
                    <a:pt x="77357" y="150146"/>
                  </a:cubicBezTo>
                  <a:cubicBezTo>
                    <a:pt x="63844" y="174239"/>
                    <a:pt x="40341" y="187587"/>
                    <a:pt x="32032" y="217136"/>
                  </a:cubicBezTo>
                  <a:cubicBezTo>
                    <a:pt x="26576" y="236696"/>
                    <a:pt x="31696" y="253989"/>
                    <a:pt x="28171" y="273801"/>
                  </a:cubicBezTo>
                  <a:cubicBezTo>
                    <a:pt x="24142" y="296131"/>
                    <a:pt x="8446" y="313424"/>
                    <a:pt x="1647" y="334831"/>
                  </a:cubicBezTo>
                  <a:cubicBezTo>
                    <a:pt x="-5235" y="356489"/>
                    <a:pt x="12055" y="376721"/>
                    <a:pt x="6096" y="398883"/>
                  </a:cubicBezTo>
                  <a:cubicBezTo>
                    <a:pt x="2991" y="410551"/>
                    <a:pt x="2655" y="418610"/>
                    <a:pt x="3914" y="432210"/>
                  </a:cubicBezTo>
                  <a:cubicBezTo>
                    <a:pt x="5089" y="444802"/>
                    <a:pt x="9705" y="453281"/>
                    <a:pt x="16504" y="464446"/>
                  </a:cubicBezTo>
                  <a:cubicBezTo>
                    <a:pt x="29430" y="485601"/>
                    <a:pt x="40425" y="504657"/>
                    <a:pt x="50414" y="526483"/>
                  </a:cubicBezTo>
                  <a:cubicBezTo>
                    <a:pt x="59982" y="547302"/>
                    <a:pt x="67033" y="567702"/>
                    <a:pt x="67956" y="590871"/>
                  </a:cubicBezTo>
                  <a:cubicBezTo>
                    <a:pt x="68544" y="604638"/>
                    <a:pt x="64851" y="617314"/>
                    <a:pt x="62752" y="630746"/>
                  </a:cubicBezTo>
                  <a:cubicBezTo>
                    <a:pt x="60822" y="643254"/>
                    <a:pt x="61829" y="656266"/>
                    <a:pt x="59311" y="668774"/>
                  </a:cubicBezTo>
                  <a:cubicBezTo>
                    <a:pt x="54863" y="691272"/>
                    <a:pt x="47392" y="717464"/>
                    <a:pt x="34130" y="735597"/>
                  </a:cubicBezTo>
                  <a:cubicBezTo>
                    <a:pt x="27919" y="744075"/>
                    <a:pt x="18183" y="749112"/>
                    <a:pt x="11468" y="756836"/>
                  </a:cubicBezTo>
                  <a:cubicBezTo>
                    <a:pt x="8530" y="760193"/>
                    <a:pt x="5593" y="763383"/>
                    <a:pt x="2403" y="766238"/>
                  </a:cubicBezTo>
                  <a:lnTo>
                    <a:pt x="288874" y="742984"/>
                  </a:lnTo>
                  <a:lnTo>
                    <a:pt x="289965" y="755996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2053D701-6BDD-085D-F3E8-C9E8FF6893A4}"/>
                </a:ext>
              </a:extLst>
            </p:cNvPr>
            <p:cNvSpPr/>
            <p:nvPr/>
          </p:nvSpPr>
          <p:spPr>
            <a:xfrm>
              <a:off x="6507206" y="4203364"/>
              <a:ext cx="930165" cy="967340"/>
            </a:xfrm>
            <a:custGeom>
              <a:avLst/>
              <a:gdLst>
                <a:gd name="connsiteX0" fmla="*/ 956777 w 1029801"/>
                <a:gd name="connsiteY0" fmla="*/ 1027184 h 1070958"/>
                <a:gd name="connsiteX1" fmla="*/ 1029801 w 1029801"/>
                <a:gd name="connsiteY1" fmla="*/ 81513 h 1070958"/>
                <a:gd name="connsiteX2" fmla="*/ 145963 w 1029801"/>
                <a:gd name="connsiteY2" fmla="*/ 0 h 1070958"/>
                <a:gd name="connsiteX3" fmla="*/ 0 w 1029801"/>
                <a:gd name="connsiteY3" fmla="*/ 1053543 h 1070958"/>
                <a:gd name="connsiteX4" fmla="*/ 9317 w 1029801"/>
                <a:gd name="connsiteY4" fmla="*/ 1054886 h 1070958"/>
                <a:gd name="connsiteX5" fmla="*/ 37267 w 1029801"/>
                <a:gd name="connsiteY5" fmla="*/ 1063281 h 1070958"/>
                <a:gd name="connsiteX6" fmla="*/ 97449 w 1029801"/>
                <a:gd name="connsiteY6" fmla="*/ 1068822 h 1070958"/>
                <a:gd name="connsiteX7" fmla="*/ 128001 w 1029801"/>
                <a:gd name="connsiteY7" fmla="*/ 1067227 h 1070958"/>
                <a:gd name="connsiteX8" fmla="*/ 128169 w 1029801"/>
                <a:gd name="connsiteY8" fmla="*/ 1038433 h 1070958"/>
                <a:gd name="connsiteX9" fmla="*/ 129764 w 1029801"/>
                <a:gd name="connsiteY9" fmla="*/ 985210 h 1070958"/>
                <a:gd name="connsiteX10" fmla="*/ 181636 w 1029801"/>
                <a:gd name="connsiteY10" fmla="*/ 983867 h 1070958"/>
                <a:gd name="connsiteX11" fmla="*/ 254408 w 1029801"/>
                <a:gd name="connsiteY11" fmla="*/ 992010 h 1070958"/>
                <a:gd name="connsiteX12" fmla="*/ 364279 w 1029801"/>
                <a:gd name="connsiteY12" fmla="*/ 1010226 h 1070958"/>
                <a:gd name="connsiteX13" fmla="*/ 388032 w 1029801"/>
                <a:gd name="connsiteY13" fmla="*/ 1019880 h 1070958"/>
                <a:gd name="connsiteX14" fmla="*/ 390047 w 1029801"/>
                <a:gd name="connsiteY14" fmla="*/ 972701 h 1070958"/>
                <a:gd name="connsiteX15" fmla="*/ 956693 w 1029801"/>
                <a:gd name="connsiteY15" fmla="*/ 1027267 h 107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29801" h="1070958">
                  <a:moveTo>
                    <a:pt x="956777" y="1027184"/>
                  </a:moveTo>
                  <a:lnTo>
                    <a:pt x="1029801" y="81513"/>
                  </a:lnTo>
                  <a:cubicBezTo>
                    <a:pt x="668460" y="57672"/>
                    <a:pt x="376785" y="28710"/>
                    <a:pt x="145963" y="0"/>
                  </a:cubicBezTo>
                  <a:lnTo>
                    <a:pt x="0" y="1053543"/>
                  </a:lnTo>
                  <a:cubicBezTo>
                    <a:pt x="3106" y="1053963"/>
                    <a:pt x="6211" y="1054550"/>
                    <a:pt x="9317" y="1054886"/>
                  </a:cubicBezTo>
                  <a:cubicBezTo>
                    <a:pt x="19809" y="1056145"/>
                    <a:pt x="27363" y="1060679"/>
                    <a:pt x="37267" y="1063281"/>
                  </a:cubicBezTo>
                  <a:cubicBezTo>
                    <a:pt x="55901" y="1068234"/>
                    <a:pt x="78479" y="1066975"/>
                    <a:pt x="97449" y="1068822"/>
                  </a:cubicBezTo>
                  <a:cubicBezTo>
                    <a:pt x="104751" y="1069493"/>
                    <a:pt x="122461" y="1074110"/>
                    <a:pt x="128001" y="1067227"/>
                  </a:cubicBezTo>
                  <a:cubicBezTo>
                    <a:pt x="131359" y="1063029"/>
                    <a:pt x="128169" y="1044141"/>
                    <a:pt x="128169" y="1038433"/>
                  </a:cubicBezTo>
                  <a:cubicBezTo>
                    <a:pt x="128169" y="1021307"/>
                    <a:pt x="120531" y="994780"/>
                    <a:pt x="129764" y="985210"/>
                  </a:cubicBezTo>
                  <a:cubicBezTo>
                    <a:pt x="138745" y="975807"/>
                    <a:pt x="167367" y="981936"/>
                    <a:pt x="181636" y="983867"/>
                  </a:cubicBezTo>
                  <a:cubicBezTo>
                    <a:pt x="205809" y="987224"/>
                    <a:pt x="229899" y="989491"/>
                    <a:pt x="254408" y="992010"/>
                  </a:cubicBezTo>
                  <a:cubicBezTo>
                    <a:pt x="291591" y="995787"/>
                    <a:pt x="329529" y="996039"/>
                    <a:pt x="364279" y="1010226"/>
                  </a:cubicBezTo>
                  <a:cubicBezTo>
                    <a:pt x="371581" y="1013164"/>
                    <a:pt x="379891" y="1016270"/>
                    <a:pt x="388032" y="1019880"/>
                  </a:cubicBezTo>
                  <a:lnTo>
                    <a:pt x="390047" y="972701"/>
                  </a:lnTo>
                  <a:lnTo>
                    <a:pt x="956693" y="1027267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AE88B8AC-3843-7D4F-4B41-A3497F62333B}"/>
                </a:ext>
              </a:extLst>
            </p:cNvPr>
            <p:cNvSpPr/>
            <p:nvPr/>
          </p:nvSpPr>
          <p:spPr>
            <a:xfrm>
              <a:off x="9444477" y="3421452"/>
              <a:ext cx="392771" cy="703584"/>
            </a:xfrm>
            <a:custGeom>
              <a:avLst/>
              <a:gdLst>
                <a:gd name="connsiteX0" fmla="*/ 36763 w 434843"/>
                <a:gd name="connsiteY0" fmla="*/ 395142 h 778950"/>
                <a:gd name="connsiteX1" fmla="*/ 38526 w 434843"/>
                <a:gd name="connsiteY1" fmla="*/ 415037 h 778950"/>
                <a:gd name="connsiteX2" fmla="*/ 47591 w 434843"/>
                <a:gd name="connsiteY2" fmla="*/ 445594 h 778950"/>
                <a:gd name="connsiteX3" fmla="*/ 42303 w 434843"/>
                <a:gd name="connsiteY3" fmla="*/ 499573 h 778950"/>
                <a:gd name="connsiteX4" fmla="*/ 37267 w 434843"/>
                <a:gd name="connsiteY4" fmla="*/ 507967 h 778950"/>
                <a:gd name="connsiteX5" fmla="*/ 31476 w 434843"/>
                <a:gd name="connsiteY5" fmla="*/ 519384 h 778950"/>
                <a:gd name="connsiteX6" fmla="*/ 35252 w 434843"/>
                <a:gd name="connsiteY6" fmla="*/ 537013 h 778950"/>
                <a:gd name="connsiteX7" fmla="*/ 46668 w 434843"/>
                <a:gd name="connsiteY7" fmla="*/ 553635 h 778950"/>
                <a:gd name="connsiteX8" fmla="*/ 62951 w 434843"/>
                <a:gd name="connsiteY8" fmla="*/ 583688 h 778950"/>
                <a:gd name="connsiteX9" fmla="*/ 47591 w 434843"/>
                <a:gd name="connsiteY9" fmla="*/ 637666 h 778950"/>
                <a:gd name="connsiteX10" fmla="*/ 38190 w 434843"/>
                <a:gd name="connsiteY10" fmla="*/ 654120 h 778950"/>
                <a:gd name="connsiteX11" fmla="*/ 33154 w 434843"/>
                <a:gd name="connsiteY11" fmla="*/ 664781 h 778950"/>
                <a:gd name="connsiteX12" fmla="*/ 20228 w 434843"/>
                <a:gd name="connsiteY12" fmla="*/ 689546 h 778950"/>
                <a:gd name="connsiteX13" fmla="*/ 0 w 434843"/>
                <a:gd name="connsiteY13" fmla="*/ 764008 h 778950"/>
                <a:gd name="connsiteX14" fmla="*/ 504 w 434843"/>
                <a:gd name="connsiteY14" fmla="*/ 778950 h 778950"/>
                <a:gd name="connsiteX15" fmla="*/ 38778 w 434843"/>
                <a:gd name="connsiteY15" fmla="*/ 771563 h 778950"/>
                <a:gd name="connsiteX16" fmla="*/ 50948 w 434843"/>
                <a:gd name="connsiteY16" fmla="*/ 760398 h 778950"/>
                <a:gd name="connsiteX17" fmla="*/ 61189 w 434843"/>
                <a:gd name="connsiteY17" fmla="*/ 749652 h 778950"/>
                <a:gd name="connsiteX18" fmla="*/ 85362 w 434843"/>
                <a:gd name="connsiteY18" fmla="*/ 754941 h 778950"/>
                <a:gd name="connsiteX19" fmla="*/ 86873 w 434843"/>
                <a:gd name="connsiteY19" fmla="*/ 756452 h 778950"/>
                <a:gd name="connsiteX20" fmla="*/ 132365 w 434843"/>
                <a:gd name="connsiteY20" fmla="*/ 769716 h 778950"/>
                <a:gd name="connsiteX21" fmla="*/ 145375 w 434843"/>
                <a:gd name="connsiteY21" fmla="*/ 757795 h 778950"/>
                <a:gd name="connsiteX22" fmla="*/ 171899 w 434843"/>
                <a:gd name="connsiteY22" fmla="*/ 741426 h 778950"/>
                <a:gd name="connsiteX23" fmla="*/ 173578 w 434843"/>
                <a:gd name="connsiteY23" fmla="*/ 741929 h 778950"/>
                <a:gd name="connsiteX24" fmla="*/ 174417 w 434843"/>
                <a:gd name="connsiteY24" fmla="*/ 743440 h 778950"/>
                <a:gd name="connsiteX25" fmla="*/ 194310 w 434843"/>
                <a:gd name="connsiteY25" fmla="*/ 752339 h 778950"/>
                <a:gd name="connsiteX26" fmla="*/ 211181 w 434843"/>
                <a:gd name="connsiteY26" fmla="*/ 726987 h 778950"/>
                <a:gd name="connsiteX27" fmla="*/ 239467 w 434843"/>
                <a:gd name="connsiteY27" fmla="*/ 697017 h 778950"/>
                <a:gd name="connsiteX28" fmla="*/ 257345 w 434843"/>
                <a:gd name="connsiteY28" fmla="*/ 706923 h 778950"/>
                <a:gd name="connsiteX29" fmla="*/ 266914 w 434843"/>
                <a:gd name="connsiteY29" fmla="*/ 713891 h 778950"/>
                <a:gd name="connsiteX30" fmla="*/ 289828 w 434843"/>
                <a:gd name="connsiteY30" fmla="*/ 700375 h 778950"/>
                <a:gd name="connsiteX31" fmla="*/ 318786 w 434843"/>
                <a:gd name="connsiteY31" fmla="*/ 656135 h 778950"/>
                <a:gd name="connsiteX32" fmla="*/ 328018 w 434843"/>
                <a:gd name="connsiteY32" fmla="*/ 644214 h 778950"/>
                <a:gd name="connsiteX33" fmla="*/ 346820 w 434843"/>
                <a:gd name="connsiteY33" fmla="*/ 600813 h 778950"/>
                <a:gd name="connsiteX34" fmla="*/ 351520 w 434843"/>
                <a:gd name="connsiteY34" fmla="*/ 585535 h 778950"/>
                <a:gd name="connsiteX35" fmla="*/ 386269 w 434843"/>
                <a:gd name="connsiteY35" fmla="*/ 573362 h 778950"/>
                <a:gd name="connsiteX36" fmla="*/ 404735 w 434843"/>
                <a:gd name="connsiteY36" fmla="*/ 575881 h 778950"/>
                <a:gd name="connsiteX37" fmla="*/ 433274 w 434843"/>
                <a:gd name="connsiteY37" fmla="*/ 552627 h 778950"/>
                <a:gd name="connsiteX38" fmla="*/ 432686 w 434843"/>
                <a:gd name="connsiteY38" fmla="*/ 537265 h 778950"/>
                <a:gd name="connsiteX39" fmla="*/ 430000 w 434843"/>
                <a:gd name="connsiteY39" fmla="*/ 527779 h 778950"/>
                <a:gd name="connsiteX40" fmla="*/ 428321 w 434843"/>
                <a:gd name="connsiteY40" fmla="*/ 498481 h 778950"/>
                <a:gd name="connsiteX41" fmla="*/ 425635 w 434843"/>
                <a:gd name="connsiteY41" fmla="*/ 465154 h 778950"/>
                <a:gd name="connsiteX42" fmla="*/ 420515 w 434843"/>
                <a:gd name="connsiteY42" fmla="*/ 448364 h 778950"/>
                <a:gd name="connsiteX43" fmla="*/ 417494 w 434843"/>
                <a:gd name="connsiteY43" fmla="*/ 439214 h 778950"/>
                <a:gd name="connsiteX44" fmla="*/ 414556 w 434843"/>
                <a:gd name="connsiteY44" fmla="*/ 426706 h 778950"/>
                <a:gd name="connsiteX45" fmla="*/ 413884 w 434843"/>
                <a:gd name="connsiteY45" fmla="*/ 426706 h 778950"/>
                <a:gd name="connsiteX46" fmla="*/ 377876 w 434843"/>
                <a:gd name="connsiteY46" fmla="*/ 0 h 778950"/>
                <a:gd name="connsiteX47" fmla="*/ 84103 w 434843"/>
                <a:gd name="connsiteY47" fmla="*/ 23841 h 778950"/>
                <a:gd name="connsiteX48" fmla="*/ 23082 w 434843"/>
                <a:gd name="connsiteY48" fmla="*/ 30809 h 778950"/>
                <a:gd name="connsiteX49" fmla="*/ 11163 w 434843"/>
                <a:gd name="connsiteY49" fmla="*/ 28626 h 778950"/>
                <a:gd name="connsiteX50" fmla="*/ 34917 w 434843"/>
                <a:gd name="connsiteY50" fmla="*/ 382046 h 778950"/>
                <a:gd name="connsiteX51" fmla="*/ 36428 w 434843"/>
                <a:gd name="connsiteY51" fmla="*/ 395226 h 77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34843" h="778950">
                  <a:moveTo>
                    <a:pt x="36763" y="395142"/>
                  </a:moveTo>
                  <a:cubicBezTo>
                    <a:pt x="37687" y="401354"/>
                    <a:pt x="38526" y="407818"/>
                    <a:pt x="38526" y="415037"/>
                  </a:cubicBezTo>
                  <a:cubicBezTo>
                    <a:pt x="38526" y="428553"/>
                    <a:pt x="40456" y="435185"/>
                    <a:pt x="47591" y="445594"/>
                  </a:cubicBezTo>
                  <a:cubicBezTo>
                    <a:pt x="59174" y="462552"/>
                    <a:pt x="48598" y="485721"/>
                    <a:pt x="42303" y="499573"/>
                  </a:cubicBezTo>
                  <a:cubicBezTo>
                    <a:pt x="40960" y="502595"/>
                    <a:pt x="39030" y="505281"/>
                    <a:pt x="37267" y="507967"/>
                  </a:cubicBezTo>
                  <a:cubicBezTo>
                    <a:pt x="34665" y="511829"/>
                    <a:pt x="32147" y="515355"/>
                    <a:pt x="31476" y="519384"/>
                  </a:cubicBezTo>
                  <a:cubicBezTo>
                    <a:pt x="30300" y="526016"/>
                    <a:pt x="32734" y="531976"/>
                    <a:pt x="35252" y="537013"/>
                  </a:cubicBezTo>
                  <a:cubicBezTo>
                    <a:pt x="38358" y="543057"/>
                    <a:pt x="42555" y="548430"/>
                    <a:pt x="46668" y="553635"/>
                  </a:cubicBezTo>
                  <a:cubicBezTo>
                    <a:pt x="53550" y="562281"/>
                    <a:pt x="60601" y="571264"/>
                    <a:pt x="62951" y="583688"/>
                  </a:cubicBezTo>
                  <a:cubicBezTo>
                    <a:pt x="67064" y="605934"/>
                    <a:pt x="57160" y="622052"/>
                    <a:pt x="47591" y="637666"/>
                  </a:cubicBezTo>
                  <a:cubicBezTo>
                    <a:pt x="44318" y="642955"/>
                    <a:pt x="40960" y="648412"/>
                    <a:pt x="38190" y="654120"/>
                  </a:cubicBezTo>
                  <a:cubicBezTo>
                    <a:pt x="36428" y="657646"/>
                    <a:pt x="34833" y="661172"/>
                    <a:pt x="33154" y="664781"/>
                  </a:cubicBezTo>
                  <a:cubicBezTo>
                    <a:pt x="29293" y="673092"/>
                    <a:pt x="25348" y="681655"/>
                    <a:pt x="20228" y="689546"/>
                  </a:cubicBezTo>
                  <a:cubicBezTo>
                    <a:pt x="6631" y="710365"/>
                    <a:pt x="0" y="734710"/>
                    <a:pt x="0" y="764008"/>
                  </a:cubicBezTo>
                  <a:cubicBezTo>
                    <a:pt x="0" y="768792"/>
                    <a:pt x="252" y="773829"/>
                    <a:pt x="504" y="778950"/>
                  </a:cubicBezTo>
                  <a:cubicBezTo>
                    <a:pt x="15108" y="778950"/>
                    <a:pt x="25684" y="778279"/>
                    <a:pt x="38778" y="771563"/>
                  </a:cubicBezTo>
                  <a:cubicBezTo>
                    <a:pt x="44486" y="768625"/>
                    <a:pt x="47507" y="764847"/>
                    <a:pt x="50948" y="760398"/>
                  </a:cubicBezTo>
                  <a:cubicBezTo>
                    <a:pt x="53802" y="756872"/>
                    <a:pt x="56656" y="753178"/>
                    <a:pt x="61189" y="749652"/>
                  </a:cubicBezTo>
                  <a:cubicBezTo>
                    <a:pt x="72016" y="741342"/>
                    <a:pt x="78815" y="748225"/>
                    <a:pt x="85362" y="754941"/>
                  </a:cubicBezTo>
                  <a:lnTo>
                    <a:pt x="86873" y="756452"/>
                  </a:lnTo>
                  <a:cubicBezTo>
                    <a:pt x="103660" y="773326"/>
                    <a:pt x="117257" y="777271"/>
                    <a:pt x="132365" y="769716"/>
                  </a:cubicBezTo>
                  <a:cubicBezTo>
                    <a:pt x="135975" y="767953"/>
                    <a:pt x="140759" y="762748"/>
                    <a:pt x="145375" y="757795"/>
                  </a:cubicBezTo>
                  <a:cubicBezTo>
                    <a:pt x="154021" y="748477"/>
                    <a:pt x="163002" y="738823"/>
                    <a:pt x="171899" y="741426"/>
                  </a:cubicBezTo>
                  <a:lnTo>
                    <a:pt x="173578" y="741929"/>
                  </a:lnTo>
                  <a:lnTo>
                    <a:pt x="174417" y="743440"/>
                  </a:lnTo>
                  <a:cubicBezTo>
                    <a:pt x="181551" y="756536"/>
                    <a:pt x="188770" y="755025"/>
                    <a:pt x="194310" y="752339"/>
                  </a:cubicBezTo>
                  <a:cubicBezTo>
                    <a:pt x="201024" y="749065"/>
                    <a:pt x="206145" y="737816"/>
                    <a:pt x="211181" y="726987"/>
                  </a:cubicBezTo>
                  <a:cubicBezTo>
                    <a:pt x="218232" y="711792"/>
                    <a:pt x="225617" y="695926"/>
                    <a:pt x="239467" y="697017"/>
                  </a:cubicBezTo>
                  <a:cubicBezTo>
                    <a:pt x="246937" y="697605"/>
                    <a:pt x="252477" y="702558"/>
                    <a:pt x="257345" y="706923"/>
                  </a:cubicBezTo>
                  <a:cubicBezTo>
                    <a:pt x="260619" y="709861"/>
                    <a:pt x="263640" y="712548"/>
                    <a:pt x="266914" y="713891"/>
                  </a:cubicBezTo>
                  <a:cubicBezTo>
                    <a:pt x="273125" y="716409"/>
                    <a:pt x="282358" y="717668"/>
                    <a:pt x="289828" y="700375"/>
                  </a:cubicBezTo>
                  <a:cubicBezTo>
                    <a:pt x="296962" y="683922"/>
                    <a:pt x="307622" y="670406"/>
                    <a:pt x="318786" y="656135"/>
                  </a:cubicBezTo>
                  <a:cubicBezTo>
                    <a:pt x="321891" y="652189"/>
                    <a:pt x="324997" y="648244"/>
                    <a:pt x="328018" y="644214"/>
                  </a:cubicBezTo>
                  <a:cubicBezTo>
                    <a:pt x="337923" y="631118"/>
                    <a:pt x="342203" y="616428"/>
                    <a:pt x="346820" y="600813"/>
                  </a:cubicBezTo>
                  <a:cubicBezTo>
                    <a:pt x="348331" y="595777"/>
                    <a:pt x="349842" y="590656"/>
                    <a:pt x="351520" y="585535"/>
                  </a:cubicBezTo>
                  <a:cubicBezTo>
                    <a:pt x="358487" y="564632"/>
                    <a:pt x="374519" y="569669"/>
                    <a:pt x="386269" y="573362"/>
                  </a:cubicBezTo>
                  <a:cubicBezTo>
                    <a:pt x="392901" y="575461"/>
                    <a:pt x="399699" y="577644"/>
                    <a:pt x="404735" y="575881"/>
                  </a:cubicBezTo>
                  <a:cubicBezTo>
                    <a:pt x="415143" y="572355"/>
                    <a:pt x="428657" y="562617"/>
                    <a:pt x="433274" y="552627"/>
                  </a:cubicBezTo>
                  <a:cubicBezTo>
                    <a:pt x="436043" y="546667"/>
                    <a:pt x="434700" y="542890"/>
                    <a:pt x="432686" y="537265"/>
                  </a:cubicBezTo>
                  <a:cubicBezTo>
                    <a:pt x="431762" y="534495"/>
                    <a:pt x="430588" y="531389"/>
                    <a:pt x="430000" y="527779"/>
                  </a:cubicBezTo>
                  <a:cubicBezTo>
                    <a:pt x="428321" y="517873"/>
                    <a:pt x="428321" y="508051"/>
                    <a:pt x="428321" y="498481"/>
                  </a:cubicBezTo>
                  <a:cubicBezTo>
                    <a:pt x="428321" y="486896"/>
                    <a:pt x="428321" y="476067"/>
                    <a:pt x="425635" y="465154"/>
                  </a:cubicBezTo>
                  <a:cubicBezTo>
                    <a:pt x="424292" y="459529"/>
                    <a:pt x="422362" y="453905"/>
                    <a:pt x="420515" y="448364"/>
                  </a:cubicBezTo>
                  <a:cubicBezTo>
                    <a:pt x="419508" y="445258"/>
                    <a:pt x="418417" y="442236"/>
                    <a:pt x="417494" y="439214"/>
                  </a:cubicBezTo>
                  <a:cubicBezTo>
                    <a:pt x="416318" y="435352"/>
                    <a:pt x="415311" y="431071"/>
                    <a:pt x="414556" y="426706"/>
                  </a:cubicBezTo>
                  <a:lnTo>
                    <a:pt x="413884" y="426706"/>
                  </a:lnTo>
                  <a:cubicBezTo>
                    <a:pt x="413884" y="426706"/>
                    <a:pt x="377876" y="0"/>
                    <a:pt x="377876" y="0"/>
                  </a:cubicBezTo>
                  <a:lnTo>
                    <a:pt x="84103" y="23841"/>
                  </a:lnTo>
                  <a:cubicBezTo>
                    <a:pt x="66644" y="31396"/>
                    <a:pt x="42723" y="31816"/>
                    <a:pt x="23082" y="30809"/>
                  </a:cubicBezTo>
                  <a:cubicBezTo>
                    <a:pt x="18633" y="30557"/>
                    <a:pt x="14772" y="29717"/>
                    <a:pt x="11163" y="28626"/>
                  </a:cubicBezTo>
                  <a:lnTo>
                    <a:pt x="34917" y="382046"/>
                  </a:lnTo>
                  <a:cubicBezTo>
                    <a:pt x="35252" y="386579"/>
                    <a:pt x="35756" y="390776"/>
                    <a:pt x="36428" y="39522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A86C1123-8B7F-65D3-CD25-C7D919CD92AC}"/>
                </a:ext>
              </a:extLst>
            </p:cNvPr>
            <p:cNvSpPr/>
            <p:nvPr/>
          </p:nvSpPr>
          <p:spPr>
            <a:xfrm>
              <a:off x="9794739" y="3301344"/>
              <a:ext cx="550790" cy="641273"/>
            </a:xfrm>
            <a:custGeom>
              <a:avLst/>
              <a:gdLst>
                <a:gd name="connsiteX0" fmla="*/ 33658 w 609789"/>
                <a:gd name="connsiteY0" fmla="*/ 545492 h 709964"/>
                <a:gd name="connsiteX1" fmla="*/ 34162 w 609789"/>
                <a:gd name="connsiteY1" fmla="*/ 545492 h 709964"/>
                <a:gd name="connsiteX2" fmla="*/ 38107 w 609789"/>
                <a:gd name="connsiteY2" fmla="*/ 569585 h 709964"/>
                <a:gd name="connsiteX3" fmla="*/ 41044 w 609789"/>
                <a:gd name="connsiteY3" fmla="*/ 578567 h 709964"/>
                <a:gd name="connsiteX4" fmla="*/ 46416 w 609789"/>
                <a:gd name="connsiteY4" fmla="*/ 596028 h 709964"/>
                <a:gd name="connsiteX5" fmla="*/ 49186 w 609789"/>
                <a:gd name="connsiteY5" fmla="*/ 619534 h 709964"/>
                <a:gd name="connsiteX6" fmla="*/ 63035 w 609789"/>
                <a:gd name="connsiteY6" fmla="*/ 619366 h 709964"/>
                <a:gd name="connsiteX7" fmla="*/ 69331 w 609789"/>
                <a:gd name="connsiteY7" fmla="*/ 618610 h 709964"/>
                <a:gd name="connsiteX8" fmla="*/ 91741 w 609789"/>
                <a:gd name="connsiteY8" fmla="*/ 618023 h 709964"/>
                <a:gd name="connsiteX9" fmla="*/ 131862 w 609789"/>
                <a:gd name="connsiteY9" fmla="*/ 650258 h 709964"/>
                <a:gd name="connsiteX10" fmla="*/ 166360 w 609789"/>
                <a:gd name="connsiteY10" fmla="*/ 673428 h 709964"/>
                <a:gd name="connsiteX11" fmla="*/ 168374 w 609789"/>
                <a:gd name="connsiteY11" fmla="*/ 673848 h 709964"/>
                <a:gd name="connsiteX12" fmla="*/ 192044 w 609789"/>
                <a:gd name="connsiteY12" fmla="*/ 680647 h 709964"/>
                <a:gd name="connsiteX13" fmla="*/ 199598 w 609789"/>
                <a:gd name="connsiteY13" fmla="*/ 684845 h 709964"/>
                <a:gd name="connsiteX14" fmla="*/ 214538 w 609789"/>
                <a:gd name="connsiteY14" fmla="*/ 691309 h 709964"/>
                <a:gd name="connsiteX15" fmla="*/ 271615 w 609789"/>
                <a:gd name="connsiteY15" fmla="*/ 686188 h 709964"/>
                <a:gd name="connsiteX16" fmla="*/ 287562 w 609789"/>
                <a:gd name="connsiteY16" fmla="*/ 676534 h 709964"/>
                <a:gd name="connsiteX17" fmla="*/ 292515 w 609789"/>
                <a:gd name="connsiteY17" fmla="*/ 670658 h 709964"/>
                <a:gd name="connsiteX18" fmla="*/ 306700 w 609789"/>
                <a:gd name="connsiteY18" fmla="*/ 657898 h 709964"/>
                <a:gd name="connsiteX19" fmla="*/ 359495 w 609789"/>
                <a:gd name="connsiteY19" fmla="*/ 680480 h 709964"/>
                <a:gd name="connsiteX20" fmla="*/ 394664 w 609789"/>
                <a:gd name="connsiteY20" fmla="*/ 707679 h 709964"/>
                <a:gd name="connsiteX21" fmla="*/ 412122 w 609789"/>
                <a:gd name="connsiteY21" fmla="*/ 708434 h 709964"/>
                <a:gd name="connsiteX22" fmla="*/ 435036 w 609789"/>
                <a:gd name="connsiteY22" fmla="*/ 679304 h 709964"/>
                <a:gd name="connsiteX23" fmla="*/ 439149 w 609789"/>
                <a:gd name="connsiteY23" fmla="*/ 652609 h 709964"/>
                <a:gd name="connsiteX24" fmla="*/ 435875 w 609789"/>
                <a:gd name="connsiteY24" fmla="*/ 644550 h 709964"/>
                <a:gd name="connsiteX25" fmla="*/ 433526 w 609789"/>
                <a:gd name="connsiteY25" fmla="*/ 640101 h 709964"/>
                <a:gd name="connsiteX26" fmla="*/ 459378 w 609789"/>
                <a:gd name="connsiteY26" fmla="*/ 574873 h 709964"/>
                <a:gd name="connsiteX27" fmla="*/ 472136 w 609789"/>
                <a:gd name="connsiteY27" fmla="*/ 563205 h 709964"/>
                <a:gd name="connsiteX28" fmla="*/ 511334 w 609789"/>
                <a:gd name="connsiteY28" fmla="*/ 524841 h 709964"/>
                <a:gd name="connsiteX29" fmla="*/ 547006 w 609789"/>
                <a:gd name="connsiteY29" fmla="*/ 495375 h 709964"/>
                <a:gd name="connsiteX30" fmla="*/ 597703 w 609789"/>
                <a:gd name="connsiteY30" fmla="*/ 435520 h 709964"/>
                <a:gd name="connsiteX31" fmla="*/ 600724 w 609789"/>
                <a:gd name="connsiteY31" fmla="*/ 344269 h 709964"/>
                <a:gd name="connsiteX32" fmla="*/ 598794 w 609789"/>
                <a:gd name="connsiteY32" fmla="*/ 324626 h 709964"/>
                <a:gd name="connsiteX33" fmla="*/ 596528 w 609789"/>
                <a:gd name="connsiteY33" fmla="*/ 296839 h 709964"/>
                <a:gd name="connsiteX34" fmla="*/ 609790 w 609789"/>
                <a:gd name="connsiteY34" fmla="*/ 246218 h 709964"/>
                <a:gd name="connsiteX35" fmla="*/ 566899 w 609789"/>
                <a:gd name="connsiteY35" fmla="*/ 0 h 709964"/>
                <a:gd name="connsiteX36" fmla="*/ 517041 w 609789"/>
                <a:gd name="connsiteY36" fmla="*/ 30893 h 709964"/>
                <a:gd name="connsiteX37" fmla="*/ 473982 w 609789"/>
                <a:gd name="connsiteY37" fmla="*/ 82017 h 709964"/>
                <a:gd name="connsiteX38" fmla="*/ 435456 w 609789"/>
                <a:gd name="connsiteY38" fmla="*/ 111818 h 709964"/>
                <a:gd name="connsiteX39" fmla="*/ 391642 w 609789"/>
                <a:gd name="connsiteY39" fmla="*/ 131042 h 709964"/>
                <a:gd name="connsiteX40" fmla="*/ 342624 w 609789"/>
                <a:gd name="connsiteY40" fmla="*/ 134148 h 709964"/>
                <a:gd name="connsiteX41" fmla="*/ 314673 w 609789"/>
                <a:gd name="connsiteY41" fmla="*/ 146405 h 709964"/>
                <a:gd name="connsiteX42" fmla="*/ 288066 w 609789"/>
                <a:gd name="connsiteY42" fmla="*/ 139605 h 709964"/>
                <a:gd name="connsiteX43" fmla="*/ 269768 w 609789"/>
                <a:gd name="connsiteY43" fmla="*/ 123235 h 709964"/>
                <a:gd name="connsiteX44" fmla="*/ 240559 w 609789"/>
                <a:gd name="connsiteY44" fmla="*/ 122648 h 709964"/>
                <a:gd name="connsiteX45" fmla="*/ 191540 w 609789"/>
                <a:gd name="connsiteY45" fmla="*/ 104263 h 709964"/>
                <a:gd name="connsiteX46" fmla="*/ 0 w 609789"/>
                <a:gd name="connsiteY46" fmla="*/ 145145 h 709964"/>
                <a:gd name="connsiteX47" fmla="*/ 33826 w 609789"/>
                <a:gd name="connsiteY47" fmla="*/ 545408 h 70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789" h="709964">
                  <a:moveTo>
                    <a:pt x="33658" y="545492"/>
                  </a:moveTo>
                  <a:lnTo>
                    <a:pt x="34162" y="545492"/>
                  </a:lnTo>
                  <a:cubicBezTo>
                    <a:pt x="34414" y="553551"/>
                    <a:pt x="35840" y="562281"/>
                    <a:pt x="38107" y="569585"/>
                  </a:cubicBezTo>
                  <a:cubicBezTo>
                    <a:pt x="39030" y="572523"/>
                    <a:pt x="40037" y="575545"/>
                    <a:pt x="41044" y="578567"/>
                  </a:cubicBezTo>
                  <a:cubicBezTo>
                    <a:pt x="42975" y="584192"/>
                    <a:pt x="44906" y="590068"/>
                    <a:pt x="46416" y="596028"/>
                  </a:cubicBezTo>
                  <a:cubicBezTo>
                    <a:pt x="48347" y="603919"/>
                    <a:pt x="48934" y="611811"/>
                    <a:pt x="49186" y="619534"/>
                  </a:cubicBezTo>
                  <a:cubicBezTo>
                    <a:pt x="53803" y="619702"/>
                    <a:pt x="58587" y="619869"/>
                    <a:pt x="63035" y="619366"/>
                  </a:cubicBezTo>
                  <a:cubicBezTo>
                    <a:pt x="65050" y="619198"/>
                    <a:pt x="67232" y="618862"/>
                    <a:pt x="69331" y="618610"/>
                  </a:cubicBezTo>
                  <a:cubicBezTo>
                    <a:pt x="76381" y="617687"/>
                    <a:pt x="84355" y="616595"/>
                    <a:pt x="91741" y="618023"/>
                  </a:cubicBezTo>
                  <a:cubicBezTo>
                    <a:pt x="107773" y="621045"/>
                    <a:pt x="122797" y="639345"/>
                    <a:pt x="131862" y="650258"/>
                  </a:cubicBezTo>
                  <a:cubicBezTo>
                    <a:pt x="142858" y="663606"/>
                    <a:pt x="153853" y="670994"/>
                    <a:pt x="166360" y="673428"/>
                  </a:cubicBezTo>
                  <a:lnTo>
                    <a:pt x="168374" y="673848"/>
                  </a:lnTo>
                  <a:cubicBezTo>
                    <a:pt x="175844" y="675275"/>
                    <a:pt x="184406" y="676954"/>
                    <a:pt x="192044" y="680647"/>
                  </a:cubicBezTo>
                  <a:cubicBezTo>
                    <a:pt x="194646" y="681907"/>
                    <a:pt x="197164" y="683418"/>
                    <a:pt x="199598" y="684845"/>
                  </a:cubicBezTo>
                  <a:cubicBezTo>
                    <a:pt x="204550" y="687783"/>
                    <a:pt x="209167" y="690553"/>
                    <a:pt x="214538" y="691309"/>
                  </a:cubicBezTo>
                  <a:cubicBezTo>
                    <a:pt x="232669" y="693743"/>
                    <a:pt x="254995" y="691729"/>
                    <a:pt x="271615" y="686188"/>
                  </a:cubicBezTo>
                  <a:cubicBezTo>
                    <a:pt x="277658" y="684173"/>
                    <a:pt x="283449" y="680647"/>
                    <a:pt x="287562" y="676534"/>
                  </a:cubicBezTo>
                  <a:cubicBezTo>
                    <a:pt x="289241" y="674855"/>
                    <a:pt x="290836" y="672756"/>
                    <a:pt x="292515" y="670658"/>
                  </a:cubicBezTo>
                  <a:cubicBezTo>
                    <a:pt x="296375" y="665705"/>
                    <a:pt x="300740" y="660164"/>
                    <a:pt x="306700" y="657898"/>
                  </a:cubicBezTo>
                  <a:cubicBezTo>
                    <a:pt x="327096" y="650091"/>
                    <a:pt x="345645" y="665873"/>
                    <a:pt x="359495" y="680480"/>
                  </a:cubicBezTo>
                  <a:cubicBezTo>
                    <a:pt x="370322" y="691813"/>
                    <a:pt x="379723" y="701047"/>
                    <a:pt x="394664" y="707679"/>
                  </a:cubicBezTo>
                  <a:cubicBezTo>
                    <a:pt x="400959" y="710449"/>
                    <a:pt x="406666" y="710701"/>
                    <a:pt x="412122" y="708434"/>
                  </a:cubicBezTo>
                  <a:cubicBezTo>
                    <a:pt x="424041" y="703565"/>
                    <a:pt x="431595" y="688119"/>
                    <a:pt x="435036" y="679304"/>
                  </a:cubicBezTo>
                  <a:cubicBezTo>
                    <a:pt x="438645" y="670070"/>
                    <a:pt x="440240" y="660080"/>
                    <a:pt x="439149" y="652609"/>
                  </a:cubicBezTo>
                  <a:cubicBezTo>
                    <a:pt x="438729" y="649503"/>
                    <a:pt x="437554" y="647404"/>
                    <a:pt x="435875" y="644550"/>
                  </a:cubicBezTo>
                  <a:cubicBezTo>
                    <a:pt x="435120" y="643207"/>
                    <a:pt x="434281" y="641780"/>
                    <a:pt x="433526" y="640101"/>
                  </a:cubicBezTo>
                  <a:cubicBezTo>
                    <a:pt x="419760" y="611642"/>
                    <a:pt x="442674" y="590404"/>
                    <a:pt x="459378" y="574873"/>
                  </a:cubicBezTo>
                  <a:cubicBezTo>
                    <a:pt x="463658" y="570928"/>
                    <a:pt x="467855" y="567066"/>
                    <a:pt x="472136" y="563205"/>
                  </a:cubicBezTo>
                  <a:cubicBezTo>
                    <a:pt x="485817" y="550697"/>
                    <a:pt x="498827" y="538944"/>
                    <a:pt x="511334" y="524841"/>
                  </a:cubicBezTo>
                  <a:cubicBezTo>
                    <a:pt x="521405" y="513508"/>
                    <a:pt x="534416" y="504273"/>
                    <a:pt x="547006" y="495375"/>
                  </a:cubicBezTo>
                  <a:cubicBezTo>
                    <a:pt x="570172" y="479005"/>
                    <a:pt x="592079" y="463559"/>
                    <a:pt x="597703" y="435520"/>
                  </a:cubicBezTo>
                  <a:cubicBezTo>
                    <a:pt x="603242" y="407734"/>
                    <a:pt x="602319" y="373819"/>
                    <a:pt x="600724" y="344269"/>
                  </a:cubicBezTo>
                  <a:cubicBezTo>
                    <a:pt x="600389" y="337637"/>
                    <a:pt x="599549" y="331006"/>
                    <a:pt x="598794" y="324626"/>
                  </a:cubicBezTo>
                  <a:cubicBezTo>
                    <a:pt x="597703" y="315727"/>
                    <a:pt x="596528" y="306493"/>
                    <a:pt x="596528" y="296839"/>
                  </a:cubicBezTo>
                  <a:cubicBezTo>
                    <a:pt x="596528" y="277531"/>
                    <a:pt x="598962" y="261413"/>
                    <a:pt x="609790" y="246218"/>
                  </a:cubicBezTo>
                  <a:lnTo>
                    <a:pt x="566899" y="0"/>
                  </a:lnTo>
                  <a:cubicBezTo>
                    <a:pt x="550279" y="9990"/>
                    <a:pt x="530471" y="16538"/>
                    <a:pt x="517041" y="30893"/>
                  </a:cubicBezTo>
                  <a:cubicBezTo>
                    <a:pt x="501933" y="47179"/>
                    <a:pt x="492364" y="68249"/>
                    <a:pt x="473982" y="82017"/>
                  </a:cubicBezTo>
                  <a:cubicBezTo>
                    <a:pt x="460973" y="91755"/>
                    <a:pt x="448466" y="102332"/>
                    <a:pt x="435456" y="111818"/>
                  </a:cubicBezTo>
                  <a:cubicBezTo>
                    <a:pt x="425300" y="119206"/>
                    <a:pt x="404232" y="130623"/>
                    <a:pt x="391642" y="131042"/>
                  </a:cubicBezTo>
                  <a:cubicBezTo>
                    <a:pt x="374519" y="131630"/>
                    <a:pt x="360082" y="123991"/>
                    <a:pt x="342624" y="134148"/>
                  </a:cubicBezTo>
                  <a:cubicBezTo>
                    <a:pt x="330537" y="141200"/>
                    <a:pt x="330537" y="147244"/>
                    <a:pt x="314673" y="146405"/>
                  </a:cubicBezTo>
                  <a:cubicBezTo>
                    <a:pt x="305860" y="145901"/>
                    <a:pt x="295368" y="145313"/>
                    <a:pt x="288066" y="139605"/>
                  </a:cubicBezTo>
                  <a:cubicBezTo>
                    <a:pt x="280595" y="133813"/>
                    <a:pt x="280595" y="126677"/>
                    <a:pt x="269768" y="123235"/>
                  </a:cubicBezTo>
                  <a:cubicBezTo>
                    <a:pt x="261123" y="120549"/>
                    <a:pt x="249707" y="122648"/>
                    <a:pt x="240559" y="122648"/>
                  </a:cubicBezTo>
                  <a:cubicBezTo>
                    <a:pt x="224359" y="122648"/>
                    <a:pt x="203627" y="116771"/>
                    <a:pt x="191540" y="104263"/>
                  </a:cubicBezTo>
                  <a:lnTo>
                    <a:pt x="0" y="145145"/>
                  </a:lnTo>
                  <a:lnTo>
                    <a:pt x="33826" y="545408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09B5"/>
                </a:solidFill>
                <a:effectLst/>
                <a:uLnTx/>
                <a:uFillTx/>
                <a:latin typeface="Elevance Sans"/>
                <a:ea typeface="+mn-ea"/>
                <a:cs typeface="+mn-cs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238FC7DC-00B3-657E-D0A7-85A574B7C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947" y="659656"/>
            <a:ext cx="7461650" cy="1325563"/>
          </a:xfrm>
        </p:spPr>
        <p:txBody>
          <a:bodyPr>
            <a:noAutofit/>
          </a:bodyPr>
          <a:lstStyle/>
          <a:p>
            <a:r>
              <a:rPr lang="en-US" sz="3600"/>
              <a:t>CARELON IS THE NATIONAL LEADER IN BEHAVIORAL HEALTH CRISIS SOLUTIONS</a:t>
            </a:r>
          </a:p>
        </p:txBody>
      </p:sp>
      <p:sp>
        <p:nvSpPr>
          <p:cNvPr id="80" name="Text Placeholder 79">
            <a:extLst>
              <a:ext uri="{FF2B5EF4-FFF2-40B4-BE49-F238E27FC236}">
                <a16:creationId xmlns:a16="http://schemas.microsoft.com/office/drawing/2014/main" id="{DB422211-D006-BC15-E3A3-D6E7CD7F2B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101" y="2117725"/>
            <a:ext cx="10306998" cy="708118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</a:pP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We combine national expertise with curated local capabilities to deliver an integrated, high-performing crisis system of care.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252780D-8810-15B2-09B0-039B725D5CBD}"/>
              </a:ext>
            </a:extLst>
          </p:cNvPr>
          <p:cNvSpPr txBox="1">
            <a:spLocks/>
          </p:cNvSpPr>
          <p:nvPr/>
        </p:nvSpPr>
        <p:spPr>
          <a:xfrm>
            <a:off x="739416" y="3086048"/>
            <a:ext cx="1737360" cy="2730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91440" rIns="91440" bIns="9144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Elevance Sans Medium" pitchFamily="2" charset="0"/>
                <a:ea typeface="+mn-ea"/>
                <a:cs typeface="+mn-cs"/>
              </a:defRPr>
            </a:lvl1pPr>
            <a:lvl2pPr marL="17463" indent="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None/>
              <a:tabLst/>
              <a:defRPr lang="en-US" sz="2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76213" indent="-166688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Char char="•"/>
              <a:tabLst/>
              <a:defRPr lang="en-US" sz="2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3550" indent="-231775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Char char="–"/>
              <a:tabLst/>
              <a:defRPr lang="en-US" sz="2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28650" indent="-1651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Char char="•"/>
              <a:tabLst/>
              <a:defRPr lang="en-US" sz="2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59536" indent="-173736" algn="l" defTabSz="914400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Font typeface="Elevance Sans" pitchFamily="2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Elevance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Elevance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Elevance Sans" pitchFamily="2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1800" b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RISIS CONTACT CENTER</a:t>
            </a:r>
          </a:p>
          <a:p>
            <a:pPr>
              <a:spcBef>
                <a:spcPts val="1200"/>
              </a:spcBef>
              <a:spcAft>
                <a:spcPts val="400"/>
              </a:spcAft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sis contact center services for calls, texts, and chats</a:t>
            </a:r>
          </a:p>
          <a:p>
            <a:pPr>
              <a:spcBef>
                <a:spcPts val="1200"/>
              </a:spcBef>
              <a:spcAft>
                <a:spcPts val="2000"/>
              </a:spcAft>
              <a:buClrTx/>
              <a:buFontTx/>
              <a:buNone/>
              <a:defRPr/>
            </a:pPr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NH, K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9C158E-C5A7-3D90-9D77-2C704E19EDC2}"/>
              </a:ext>
            </a:extLst>
          </p:cNvPr>
          <p:cNvSpPr txBox="1"/>
          <p:nvPr/>
        </p:nvSpPr>
        <p:spPr>
          <a:xfrm>
            <a:off x="4569947" y="3086048"/>
            <a:ext cx="1737360" cy="2730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91440" rIns="91440" bIns="91440">
            <a:noAutofit/>
          </a:bodyPr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sz="2000" b="1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OTAL CRISIS SOLUTION</a:t>
            </a:r>
          </a:p>
          <a:p>
            <a:pPr>
              <a:spcBef>
                <a:spcPts val="1200"/>
              </a:spcBef>
              <a:spcAft>
                <a:spcPts val="400"/>
              </a:spcAft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es crisis contact center services and system management</a:t>
            </a:r>
          </a:p>
          <a:p>
            <a:pPr>
              <a:spcBef>
                <a:spcPts val="1200"/>
              </a:spcBef>
              <a:buClrTx/>
              <a:buFontTx/>
              <a:buNone/>
              <a:defRPr/>
            </a:pPr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 MBHP and G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B122795-3E65-F602-B915-C8E8A8ABCB46}"/>
              </a:ext>
            </a:extLst>
          </p:cNvPr>
          <p:cNvSpPr txBox="1"/>
          <p:nvPr/>
        </p:nvSpPr>
        <p:spPr>
          <a:xfrm>
            <a:off x="2607150" y="3086048"/>
            <a:ext cx="1844389" cy="2730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91440" tIns="91440" rIns="91440" bIns="9144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4020202020204" pitchFamily="34" charset="0"/>
                <a:cs typeface="Arial Narrow" panose="020B0604020202020204" pitchFamily="34" charset="0"/>
              </a:rPr>
              <a:t>CRISIS SYSTEM MANAGEMENT</a:t>
            </a:r>
            <a:endParaRPr lang="en-US" sz="20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4020202020204" pitchFamily="34" charset="0"/>
              <a:cs typeface="Arial Narrow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rational oversight and quality management of the crisis system (crisis ASO)</a:t>
            </a:r>
            <a:endParaRPr lang="en-US" sz="14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2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s: WA, CO, NJ, </a:t>
            </a:r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</a:t>
            </a:r>
            <a:endParaRPr lang="en-US" sz="120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087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9F7AD6-F558-0CDE-766B-B25E420B5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5336D135-754B-A6FE-7919-CE23250C8AFD}"/>
              </a:ext>
            </a:extLst>
          </p:cNvPr>
          <p:cNvGrpSpPr/>
          <p:nvPr/>
        </p:nvGrpSpPr>
        <p:grpSpPr>
          <a:xfrm>
            <a:off x="6287304" y="1877974"/>
            <a:ext cx="3118924" cy="4478013"/>
            <a:chOff x="6287304" y="1877974"/>
            <a:chExt cx="3118924" cy="4478013"/>
          </a:xfrm>
        </p:grpSpPr>
        <p:sp>
          <p:nvSpPr>
            <p:cNvPr id="4" name="Freeform 194">
              <a:extLst>
                <a:ext uri="{FF2B5EF4-FFF2-40B4-BE49-F238E27FC236}">
                  <a16:creationId xmlns:a16="http://schemas.microsoft.com/office/drawing/2014/main" id="{D445E342-2880-05FD-6FFC-8257F5D00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304" y="1877974"/>
              <a:ext cx="3118924" cy="4478013"/>
            </a:xfrm>
            <a:custGeom>
              <a:avLst/>
              <a:gdLst>
                <a:gd name="T0" fmla="*/ 83 w 855"/>
                <a:gd name="T1" fmla="*/ 186 h 1383"/>
                <a:gd name="T2" fmla="*/ 68 w 855"/>
                <a:gd name="T3" fmla="*/ 168 h 1383"/>
                <a:gd name="T4" fmla="*/ 53 w 855"/>
                <a:gd name="T5" fmla="*/ 150 h 1383"/>
                <a:gd name="T6" fmla="*/ 40 w 855"/>
                <a:gd name="T7" fmla="*/ 134 h 1383"/>
                <a:gd name="T8" fmla="*/ 27 w 855"/>
                <a:gd name="T9" fmla="*/ 117 h 1383"/>
                <a:gd name="T10" fmla="*/ 13 w 855"/>
                <a:gd name="T11" fmla="*/ 98 h 1383"/>
                <a:gd name="T12" fmla="*/ 0 w 855"/>
                <a:gd name="T13" fmla="*/ 79 h 1383"/>
                <a:gd name="T14" fmla="*/ 7 w 855"/>
                <a:gd name="T15" fmla="*/ 53 h 1383"/>
                <a:gd name="T16" fmla="*/ 14 w 855"/>
                <a:gd name="T17" fmla="*/ 28 h 1383"/>
                <a:gd name="T18" fmla="*/ 21 w 855"/>
                <a:gd name="T19" fmla="*/ 0 h 1383"/>
                <a:gd name="T20" fmla="*/ 35 w 855"/>
                <a:gd name="T21" fmla="*/ 3 h 1383"/>
                <a:gd name="T22" fmla="*/ 54 w 855"/>
                <a:gd name="T23" fmla="*/ 8 h 1383"/>
                <a:gd name="T24" fmla="*/ 76 w 855"/>
                <a:gd name="T25" fmla="*/ 12 h 1383"/>
                <a:gd name="T26" fmla="*/ 85 w 855"/>
                <a:gd name="T27" fmla="*/ 14 h 1383"/>
                <a:gd name="T28" fmla="*/ 100 w 855"/>
                <a:gd name="T29" fmla="*/ 18 h 1383"/>
                <a:gd name="T30" fmla="*/ 119 w 855"/>
                <a:gd name="T31" fmla="*/ 21 h 1383"/>
                <a:gd name="T32" fmla="*/ 140 w 855"/>
                <a:gd name="T33" fmla="*/ 25 h 1383"/>
                <a:gd name="T34" fmla="*/ 150 w 855"/>
                <a:gd name="T35" fmla="*/ 27 h 1383"/>
                <a:gd name="T36" fmla="*/ 145 w 855"/>
                <a:gd name="T37" fmla="*/ 51 h 1383"/>
                <a:gd name="T38" fmla="*/ 141 w 855"/>
                <a:gd name="T39" fmla="*/ 76 h 1383"/>
                <a:gd name="T40" fmla="*/ 136 w 855"/>
                <a:gd name="T41" fmla="*/ 100 h 1383"/>
                <a:gd name="T42" fmla="*/ 132 w 855"/>
                <a:gd name="T43" fmla="*/ 122 h 1383"/>
                <a:gd name="T44" fmla="*/ 128 w 855"/>
                <a:gd name="T45" fmla="*/ 145 h 1383"/>
                <a:gd name="T46" fmla="*/ 126 w 855"/>
                <a:gd name="T47" fmla="*/ 158 h 1383"/>
                <a:gd name="T48" fmla="*/ 122 w 855"/>
                <a:gd name="T49" fmla="*/ 179 h 1383"/>
                <a:gd name="T50" fmla="*/ 120 w 855"/>
                <a:gd name="T51" fmla="*/ 183 h 1383"/>
                <a:gd name="T52" fmla="*/ 119 w 855"/>
                <a:gd name="T53" fmla="*/ 183 h 1383"/>
                <a:gd name="T54" fmla="*/ 117 w 855"/>
                <a:gd name="T55" fmla="*/ 183 h 1383"/>
                <a:gd name="T56" fmla="*/ 114 w 855"/>
                <a:gd name="T57" fmla="*/ 180 h 1383"/>
                <a:gd name="T58" fmla="*/ 113 w 855"/>
                <a:gd name="T59" fmla="*/ 180 h 1383"/>
                <a:gd name="T60" fmla="*/ 110 w 855"/>
                <a:gd name="T61" fmla="*/ 179 h 1383"/>
                <a:gd name="T62" fmla="*/ 106 w 855"/>
                <a:gd name="T63" fmla="*/ 182 h 1383"/>
                <a:gd name="T64" fmla="*/ 105 w 855"/>
                <a:gd name="T65" fmla="*/ 183 h 1383"/>
                <a:gd name="T66" fmla="*/ 106 w 855"/>
                <a:gd name="T67" fmla="*/ 186 h 1383"/>
                <a:gd name="T68" fmla="*/ 105 w 855"/>
                <a:gd name="T69" fmla="*/ 190 h 1383"/>
                <a:gd name="T70" fmla="*/ 106 w 855"/>
                <a:gd name="T71" fmla="*/ 200 h 1383"/>
                <a:gd name="T72" fmla="*/ 105 w 855"/>
                <a:gd name="T73" fmla="*/ 205 h 1383"/>
                <a:gd name="T74" fmla="*/ 104 w 855"/>
                <a:gd name="T75" fmla="*/ 206 h 1383"/>
                <a:gd name="T76" fmla="*/ 103 w 855"/>
                <a:gd name="T77" fmla="*/ 209 h 1383"/>
                <a:gd name="T78" fmla="*/ 83 w 855"/>
                <a:gd name="T79" fmla="*/ 186 h 138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855" h="1383">
                  <a:moveTo>
                    <a:pt x="475" y="1230"/>
                  </a:moveTo>
                  <a:lnTo>
                    <a:pt x="387" y="1109"/>
                  </a:lnTo>
                  <a:lnTo>
                    <a:pt x="303" y="992"/>
                  </a:lnTo>
                  <a:lnTo>
                    <a:pt x="231" y="885"/>
                  </a:lnTo>
                  <a:lnTo>
                    <a:pt x="154" y="771"/>
                  </a:lnTo>
                  <a:lnTo>
                    <a:pt x="74" y="644"/>
                  </a:lnTo>
                  <a:lnTo>
                    <a:pt x="0" y="523"/>
                  </a:lnTo>
                  <a:lnTo>
                    <a:pt x="39" y="347"/>
                  </a:lnTo>
                  <a:lnTo>
                    <a:pt x="78" y="182"/>
                  </a:lnTo>
                  <a:lnTo>
                    <a:pt x="121" y="0"/>
                  </a:lnTo>
                  <a:lnTo>
                    <a:pt x="199" y="22"/>
                  </a:lnTo>
                  <a:lnTo>
                    <a:pt x="310" y="52"/>
                  </a:lnTo>
                  <a:lnTo>
                    <a:pt x="430" y="83"/>
                  </a:lnTo>
                  <a:lnTo>
                    <a:pt x="486" y="95"/>
                  </a:lnTo>
                  <a:lnTo>
                    <a:pt x="566" y="114"/>
                  </a:lnTo>
                  <a:lnTo>
                    <a:pt x="678" y="140"/>
                  </a:lnTo>
                  <a:lnTo>
                    <a:pt x="798" y="165"/>
                  </a:lnTo>
                  <a:lnTo>
                    <a:pt x="855" y="175"/>
                  </a:lnTo>
                  <a:lnTo>
                    <a:pt x="827" y="334"/>
                  </a:lnTo>
                  <a:lnTo>
                    <a:pt x="800" y="503"/>
                  </a:lnTo>
                  <a:lnTo>
                    <a:pt x="775" y="656"/>
                  </a:lnTo>
                  <a:lnTo>
                    <a:pt x="752" y="801"/>
                  </a:lnTo>
                  <a:lnTo>
                    <a:pt x="729" y="962"/>
                  </a:lnTo>
                  <a:lnTo>
                    <a:pt x="717" y="1044"/>
                  </a:lnTo>
                  <a:lnTo>
                    <a:pt x="697" y="1185"/>
                  </a:lnTo>
                  <a:lnTo>
                    <a:pt x="683" y="1208"/>
                  </a:lnTo>
                  <a:lnTo>
                    <a:pt x="676" y="1213"/>
                  </a:lnTo>
                  <a:lnTo>
                    <a:pt x="664" y="1210"/>
                  </a:lnTo>
                  <a:lnTo>
                    <a:pt x="652" y="1188"/>
                  </a:lnTo>
                  <a:lnTo>
                    <a:pt x="639" y="1188"/>
                  </a:lnTo>
                  <a:lnTo>
                    <a:pt x="628" y="1181"/>
                  </a:lnTo>
                  <a:lnTo>
                    <a:pt x="606" y="1200"/>
                  </a:lnTo>
                  <a:lnTo>
                    <a:pt x="598" y="1213"/>
                  </a:lnTo>
                  <a:lnTo>
                    <a:pt x="605" y="1227"/>
                  </a:lnTo>
                  <a:lnTo>
                    <a:pt x="598" y="1253"/>
                  </a:lnTo>
                  <a:lnTo>
                    <a:pt x="603" y="1324"/>
                  </a:lnTo>
                  <a:lnTo>
                    <a:pt x="599" y="1357"/>
                  </a:lnTo>
                  <a:lnTo>
                    <a:pt x="590" y="1360"/>
                  </a:lnTo>
                  <a:lnTo>
                    <a:pt x="587" y="1383"/>
                  </a:lnTo>
                  <a:lnTo>
                    <a:pt x="475" y="1230"/>
                  </a:lnTo>
                  <a:close/>
                </a:path>
              </a:pathLst>
            </a:custGeom>
            <a:solidFill>
              <a:schemeClr val="tx2"/>
            </a:solidFill>
            <a:ln w="12700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5092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353179A-82EC-59B4-90FB-6AF02004F58C}"/>
                </a:ext>
              </a:extLst>
            </p:cNvPr>
            <p:cNvGrpSpPr/>
            <p:nvPr/>
          </p:nvGrpSpPr>
          <p:grpSpPr>
            <a:xfrm>
              <a:off x="6287304" y="3041018"/>
              <a:ext cx="424008" cy="424008"/>
              <a:chOff x="5021304" y="1922880"/>
              <a:chExt cx="569336" cy="569336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0E9B1B03-030E-FBC0-7C26-DF63911605B9}"/>
                  </a:ext>
                </a:extLst>
              </p:cNvPr>
              <p:cNvSpPr/>
              <p:nvPr/>
            </p:nvSpPr>
            <p:spPr>
              <a:xfrm>
                <a:off x="5113221" y="2014797"/>
                <a:ext cx="385503" cy="38550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EF08B0D-B84E-3248-F476-7A3C5EABB412}"/>
                  </a:ext>
                </a:extLst>
              </p:cNvPr>
              <p:cNvSpPr/>
              <p:nvPr/>
            </p:nvSpPr>
            <p:spPr>
              <a:xfrm>
                <a:off x="5021304" y="1922880"/>
                <a:ext cx="569336" cy="569336"/>
              </a:xfrm>
              <a:prstGeom prst="ellipse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34A501D-1E08-C0C5-6E18-5F7AC1BC8D77}"/>
                </a:ext>
              </a:extLst>
            </p:cNvPr>
            <p:cNvGrpSpPr/>
            <p:nvPr/>
          </p:nvGrpSpPr>
          <p:grpSpPr>
            <a:xfrm>
              <a:off x="8089828" y="5378377"/>
              <a:ext cx="424008" cy="424008"/>
              <a:chOff x="5021304" y="1922880"/>
              <a:chExt cx="569336" cy="569336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E749420-1419-C327-4E30-F25A9341304C}"/>
                  </a:ext>
                </a:extLst>
              </p:cNvPr>
              <p:cNvSpPr/>
              <p:nvPr/>
            </p:nvSpPr>
            <p:spPr>
              <a:xfrm>
                <a:off x="5113221" y="2014797"/>
                <a:ext cx="385503" cy="38550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BAD691CC-214B-0D1E-F3B8-771011550369}"/>
                  </a:ext>
                </a:extLst>
              </p:cNvPr>
              <p:cNvSpPr/>
              <p:nvPr/>
            </p:nvSpPr>
            <p:spPr>
              <a:xfrm>
                <a:off x="5021304" y="1922880"/>
                <a:ext cx="569336" cy="569336"/>
              </a:xfrm>
              <a:prstGeom prst="ellipse">
                <a:avLst/>
              </a:pr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2674D50-8208-1939-953E-E5480CBBE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UR VISION FOR NEVADA</a:t>
            </a:r>
          </a:p>
        </p:txBody>
      </p:sp>
      <p:sp>
        <p:nvSpPr>
          <p:cNvPr id="168" name="Content Placeholder 167">
            <a:extLst>
              <a:ext uri="{FF2B5EF4-FFF2-40B4-BE49-F238E27FC236}">
                <a16:creationId xmlns:a16="http://schemas.microsoft.com/office/drawing/2014/main" id="{449C1B87-0849-078C-FB82-FDB1A8F41C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1756" y="1949543"/>
            <a:ext cx="3525232" cy="3922128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Clinical oversight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Regional support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Statewide coverage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Leading performance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Augment current systems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Unite stakeholders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Embed equity</a:t>
            </a:r>
          </a:p>
          <a:p>
            <a:pPr>
              <a:lnSpc>
                <a:spcPct val="120000"/>
              </a:lnSpc>
            </a:pPr>
            <a:r>
              <a:rPr lang="en-US" sz="2000">
                <a:latin typeface="+mn-lt"/>
              </a:rPr>
              <a:t>Grow infrastructure</a:t>
            </a:r>
            <a:endParaRPr lang="en-US" sz="1800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C8A438-F0E0-FED2-018B-C8E5F56BC22A}"/>
              </a:ext>
            </a:extLst>
          </p:cNvPr>
          <p:cNvSpPr txBox="1"/>
          <p:nvPr/>
        </p:nvSpPr>
        <p:spPr>
          <a:xfrm>
            <a:off x="6266268" y="3396572"/>
            <a:ext cx="323918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3"/>
                </a:solidFill>
              </a:rPr>
              <a:t>ONE PLATFORM,</a:t>
            </a:r>
          </a:p>
          <a:p>
            <a:pPr algn="ctr"/>
            <a:r>
              <a:rPr lang="en-US" sz="2000" b="1">
                <a:solidFill>
                  <a:schemeClr val="bg1"/>
                </a:solidFill>
              </a:rPr>
              <a:t>TWO HUBS IN</a:t>
            </a:r>
          </a:p>
          <a:p>
            <a:pPr algn="ctr"/>
            <a:r>
              <a:rPr lang="en-US" sz="2000" b="1">
                <a:solidFill>
                  <a:schemeClr val="bg1"/>
                </a:solidFill>
              </a:rPr>
              <a:t>TWO PHAS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62C7D5-F457-0D65-2611-AFD7CBE940F4}"/>
              </a:ext>
            </a:extLst>
          </p:cNvPr>
          <p:cNvSpPr txBox="1"/>
          <p:nvPr/>
        </p:nvSpPr>
        <p:spPr>
          <a:xfrm>
            <a:off x="9546528" y="5094441"/>
            <a:ext cx="22378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PSAP and Dispat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DD56E3-6AF6-3A3A-C5D9-0CBD878880E6}"/>
              </a:ext>
            </a:extLst>
          </p:cNvPr>
          <p:cNvSpPr txBox="1"/>
          <p:nvPr/>
        </p:nvSpPr>
        <p:spPr>
          <a:xfrm>
            <a:off x="5113221" y="5062125"/>
            <a:ext cx="16638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600" b="1"/>
              <a:t>Two regional call centers</a:t>
            </a:r>
            <a:endParaRPr lang="en-US" sz="2000" b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3D21D00-DDF8-DC92-DCA1-696FC92615D8}"/>
              </a:ext>
            </a:extLst>
          </p:cNvPr>
          <p:cNvSpPr txBox="1"/>
          <p:nvPr/>
        </p:nvSpPr>
        <p:spPr>
          <a:xfrm>
            <a:off x="9546528" y="3402776"/>
            <a:ext cx="204129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/>
              <a:t>Virtual call center for rural suppor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E13B21-9632-E570-25D3-73EDF93A00EA}"/>
              </a:ext>
            </a:extLst>
          </p:cNvPr>
          <p:cNvSpPr txBox="1"/>
          <p:nvPr/>
        </p:nvSpPr>
        <p:spPr>
          <a:xfrm>
            <a:off x="9546528" y="4197320"/>
            <a:ext cx="223789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/>
              <a:t>Unifying technology platform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8DA0BCF-E48E-0AF9-D05E-D909FC2D67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801" y="4371054"/>
            <a:ext cx="1319604" cy="630474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75E9945-6E3C-0E82-4E87-97D17014A7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78705" y="4431159"/>
            <a:ext cx="503020" cy="50302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8A9FA22-4CCC-10CC-FE8C-85E5041EECA8}"/>
              </a:ext>
            </a:extLst>
          </p:cNvPr>
          <p:cNvSpPr/>
          <p:nvPr/>
        </p:nvSpPr>
        <p:spPr>
          <a:xfrm>
            <a:off x="9439191" y="3472792"/>
            <a:ext cx="67056" cy="437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BDC829-BC22-02D7-CEF1-3E4A88410E50}"/>
              </a:ext>
            </a:extLst>
          </p:cNvPr>
          <p:cNvSpPr/>
          <p:nvPr/>
        </p:nvSpPr>
        <p:spPr>
          <a:xfrm>
            <a:off x="9439191" y="4277464"/>
            <a:ext cx="67056" cy="437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CA592A-AE25-C91A-35EE-B144B01AC3FD}"/>
              </a:ext>
            </a:extLst>
          </p:cNvPr>
          <p:cNvSpPr/>
          <p:nvPr/>
        </p:nvSpPr>
        <p:spPr>
          <a:xfrm>
            <a:off x="9439191" y="5063848"/>
            <a:ext cx="67056" cy="437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C027D43-FF36-32AD-AA26-832EE03484C1}"/>
              </a:ext>
            </a:extLst>
          </p:cNvPr>
          <p:cNvSpPr/>
          <p:nvPr/>
        </p:nvSpPr>
        <p:spPr>
          <a:xfrm>
            <a:off x="6822630" y="5135604"/>
            <a:ext cx="67056" cy="43781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8B78554-A53C-B2CF-20DD-02AB72ABB9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2014797"/>
            <a:ext cx="228600" cy="2286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3B03E73-FC41-510B-D74E-4533A4292D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2510743"/>
            <a:ext cx="228600" cy="2286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677D9AB-59A5-5B1B-B5DD-EC2CA59FC9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3006689"/>
            <a:ext cx="228600" cy="2286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D4A419B-80BE-4CB2-6419-CE3FAB4F12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3502635"/>
            <a:ext cx="228600" cy="2286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5BD6B7E-B42F-4095-23B0-7C6EE8F0CE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3998581"/>
            <a:ext cx="228600" cy="2286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7FA598B-8B20-1511-DB28-E1F6ABAE9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4494527"/>
            <a:ext cx="228600" cy="2286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A9E4A0B-564C-FF3B-E280-A630651622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4980141"/>
            <a:ext cx="228600" cy="2286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574D964-D825-6595-6278-BCE89BC075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5452" y="5476087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320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C2EA95-BF6B-9BD2-1630-6B42695AF3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35A26-35B7-3918-32D3-ECFFBC96A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947" y="552411"/>
            <a:ext cx="7341500" cy="1325563"/>
          </a:xfrm>
        </p:spPr>
        <p:txBody>
          <a:bodyPr>
            <a:normAutofit/>
          </a:bodyPr>
          <a:lstStyle/>
          <a:p>
            <a:r>
              <a:rPr lang="en-US" dirty="0"/>
              <a:t>Outreach and Regulation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C5128381-792D-E28B-342E-EB9A001725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6384805"/>
              </p:ext>
            </p:extLst>
          </p:nvPr>
        </p:nvGraphicFramePr>
        <p:xfrm>
          <a:off x="672947" y="3872204"/>
          <a:ext cx="4720148" cy="2151567"/>
        </p:xfrm>
        <a:graphic>
          <a:graphicData uri="http://schemas.openxmlformats.org/drawingml/2006/table">
            <a:tbl>
              <a:tblPr firstRow="1" bandRow="1"/>
              <a:tblGrid>
                <a:gridCol w="4720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0776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Targeted outreach to Nevada communities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9376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Local government: LEA and other community partners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9376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Southern Establishment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7465888"/>
                  </a:ext>
                </a:extLst>
              </a:tr>
              <a:tr h="678003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2026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8225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92AAF9C-F005-BEC7-42D8-AF5E8DE3C8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260567"/>
              </p:ext>
            </p:extLst>
          </p:nvPr>
        </p:nvGraphicFramePr>
        <p:xfrm>
          <a:off x="6096000" y="3808168"/>
          <a:ext cx="4988767" cy="2151566"/>
        </p:xfrm>
        <a:graphic>
          <a:graphicData uri="http://schemas.openxmlformats.org/drawingml/2006/table">
            <a:tbl>
              <a:tblPr firstRow="1" bandRow="1"/>
              <a:tblGrid>
                <a:gridCol w="4988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5217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Promulgating regulations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3774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Mobile Crisis Dispatch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3774">
                <a:tc>
                  <a:txBody>
                    <a:bodyPr/>
                    <a:lstStyle/>
                    <a:p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Certified teams from single point of dispatch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7465888"/>
                  </a:ext>
                </a:extLst>
              </a:tr>
              <a:tr h="698801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2027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82255"/>
                  </a:ext>
                </a:extLst>
              </a:tr>
            </a:tbl>
          </a:graphicData>
        </a:graphic>
      </p:graphicFrame>
      <p:pic>
        <p:nvPicPr>
          <p:cNvPr id="6" name="Picture 5" descr="A person reaching for a paper on a table full of paper and sticky notes">
            <a:extLst>
              <a:ext uri="{FF2B5EF4-FFF2-40B4-BE49-F238E27FC236}">
                <a16:creationId xmlns:a16="http://schemas.microsoft.com/office/drawing/2014/main" id="{7DA24B36-59D6-27F9-DEAA-340351B9FE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47" y="1638114"/>
            <a:ext cx="3012115" cy="2010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446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D01DDE-7D71-3713-B782-CA5A786A08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32ACF-3DA8-A156-9A6D-12A095D54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947" y="552411"/>
            <a:ext cx="7341500" cy="1325563"/>
          </a:xfrm>
        </p:spPr>
        <p:txBody>
          <a:bodyPr>
            <a:normAutofit fontScale="90000"/>
          </a:bodyPr>
          <a:lstStyle/>
          <a:p>
            <a:r>
              <a:rPr lang="en-US"/>
              <a:t>IMPLEMENTATION 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984B75-A57C-65C1-2372-372C136B78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3100" y="2056224"/>
            <a:ext cx="5162747" cy="80530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HASE I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kumimoji="0" lang="en-US" sz="2000" b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KEY DELIVERABLES</a:t>
            </a:r>
            <a:endParaRPr lang="en-US" sz="2000" b="1">
              <a:solidFill>
                <a:schemeClr val="tx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C103E8E-4D0C-3C22-A1FA-3A7CB0840D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614656"/>
              </p:ext>
            </p:extLst>
          </p:nvPr>
        </p:nvGraphicFramePr>
        <p:xfrm>
          <a:off x="672946" y="3198588"/>
          <a:ext cx="5162901" cy="2761148"/>
        </p:xfrm>
        <a:graphic>
          <a:graphicData uri="http://schemas.openxmlformats.org/drawingml/2006/table">
            <a:tbl>
              <a:tblPr firstRow="1" bandRow="1"/>
              <a:tblGrid>
                <a:gridCol w="51629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22689">
                <a:tc>
                  <a:txBody>
                    <a:bodyPr/>
                    <a:lstStyle/>
                    <a:p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Carelon contracting relationship with CSSNV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837">
                <a:tc>
                  <a:txBody>
                    <a:bodyPr/>
                    <a:lstStyle/>
                    <a:p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Establish Southern Crisis Call Center in Las Vegas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0837">
                <a:tc>
                  <a:txBody>
                    <a:bodyPr/>
                    <a:lstStyle/>
                    <a:p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Identify Carelon as a 988 provider in Nevada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7465888"/>
                  </a:ext>
                </a:extLst>
              </a:tr>
              <a:tr h="896785">
                <a:tc>
                  <a:txBody>
                    <a:bodyPr/>
                    <a:lstStyle/>
                    <a:p>
                      <a:r>
                        <a:rPr lang="en-US" sz="1600" b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Implement Crisis Safety Platform for Northern and Southern Call Center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82255"/>
                  </a:ext>
                </a:extLst>
              </a:tr>
            </a:tbl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C7EC96-C222-0B63-79DC-11EE1F97A358}"/>
              </a:ext>
            </a:extLst>
          </p:cNvPr>
          <p:cNvSpPr txBox="1">
            <a:spLocks/>
          </p:cNvSpPr>
          <p:nvPr/>
        </p:nvSpPr>
        <p:spPr>
          <a:xfrm>
            <a:off x="6463105" y="2056224"/>
            <a:ext cx="5055795" cy="805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200" b="0" kern="1200" dirty="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kern="1200" dirty="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dirty="0">
                <a:solidFill>
                  <a:srgbClr val="59595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400" b="1">
                <a:solidFill>
                  <a:schemeClr val="accent4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PHASE II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000" b="1">
                <a:solidFill>
                  <a:schemeClr val="tx1"/>
                </a:solidFill>
                <a:latin typeface="Arial Narrow" panose="020B0604020202020204" pitchFamily="34" charset="0"/>
                <a:ea typeface="+mj-ea"/>
                <a:cs typeface="Arial Narrow" panose="020B0604020202020204" pitchFamily="34" charset="0"/>
              </a:rPr>
              <a:t>KEY DELIVERABLES</a:t>
            </a:r>
            <a:endParaRPr lang="en-US" sz="1800" b="1">
              <a:solidFill>
                <a:schemeClr val="tx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547CF51-ECF4-D546-C639-D66B086638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012112"/>
              </p:ext>
            </p:extLst>
          </p:nvPr>
        </p:nvGraphicFramePr>
        <p:xfrm>
          <a:off x="6355999" y="3198587"/>
          <a:ext cx="5162901" cy="2174076"/>
        </p:xfrm>
        <a:graphic>
          <a:graphicData uri="http://schemas.openxmlformats.org/drawingml/2006/table">
            <a:tbl>
              <a:tblPr firstRow="1" bandRow="1"/>
              <a:tblGrid>
                <a:gridCol w="51629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85328">
                <a:tc>
                  <a:txBody>
                    <a:bodyPr/>
                    <a:lstStyle/>
                    <a:p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Mobile Crisis Dispatch Technology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5328">
                <a:tc>
                  <a:txBody>
                    <a:bodyPr/>
                    <a:lstStyle/>
                    <a:p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System wide integration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7465888"/>
                  </a:ext>
                </a:extLst>
              </a:tr>
              <a:tr h="501710">
                <a:tc>
                  <a:txBody>
                    <a:bodyPr/>
                    <a:lstStyle/>
                    <a:p>
                      <a:r>
                        <a:rPr lang="en-US" sz="1600" b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Collaborate with community partners (including PSAPs)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882255"/>
                  </a:ext>
                </a:extLst>
              </a:tr>
              <a:tr h="501710">
                <a:tc>
                  <a:txBody>
                    <a:bodyPr/>
                    <a:lstStyle/>
                    <a:p>
                      <a:r>
                        <a:rPr lang="en-US" sz="1600" b="0">
                          <a:solidFill>
                            <a:schemeClr val="tx1"/>
                          </a:solidFill>
                          <a:latin typeface="+mj-lt"/>
                          <a:ea typeface="Arial" charset="0"/>
                          <a:cs typeface="Arial"/>
                        </a:rPr>
                        <a:t>Completion of referral directory</a:t>
                      </a:r>
                    </a:p>
                  </a:txBody>
                  <a:tcPr marL="73171" marR="73171" marT="22866" marB="22866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34681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7776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6082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36B0580-7705-42B7-B5C4-66DD97832C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792" y="1728216"/>
            <a:ext cx="11210544" cy="4626093"/>
          </a:xfrm>
        </p:spPr>
        <p:txBody>
          <a:bodyPr numCol="2">
            <a:normAutofit fontScale="62500" lnSpcReduction="20000"/>
          </a:bodyPr>
          <a:lstStyle/>
          <a:p>
            <a:pPr marL="0" marR="0"/>
            <a:r>
              <a:rPr lang="en-US" sz="49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achel Isherwood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risis Response System Program Manager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Bureau of Behavioral Health Wellness and Prevention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mail: </a:t>
            </a:r>
            <a:r>
              <a:rPr lang="en-US" sz="4900" u="sng" dirty="0">
                <a:solidFill>
                  <a:srgbClr val="467886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  <a:hlinkClick r:id="rId3"/>
              </a:rPr>
              <a:t>r.isherwood@health.nv.gov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ell: 775-461-6145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dirty="0">
              <a:effectLst/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dirty="0"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dirty="0">
              <a:effectLst/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dirty="0"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 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egan Quintana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988 Unit Supervisor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Bureau of Behavioral Health Wellness and Prevention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mail: </a:t>
            </a:r>
            <a:r>
              <a:rPr lang="en-US" sz="4900" u="sng" dirty="0">
                <a:solidFill>
                  <a:srgbClr val="467886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  <a:hlinkClick r:id="rId4"/>
              </a:rPr>
              <a:t>mquintana@health.nv.gov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ell: 775-431-7096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r>
              <a:rPr lang="en-US" sz="49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 </a:t>
            </a:r>
            <a:endParaRPr lang="en-US" sz="4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2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29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2900" dirty="0"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b="1" dirty="0">
              <a:effectLst/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/>
            <a:endParaRPr lang="en-US" sz="4900" b="1" dirty="0">
              <a:latin typeface="Calibri" panose="020F050202020403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4584F6-A7C0-464D-B0F0-E75620CF9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285ED-5E85-4370-8300-20A91DEF3646}" type="slidenum">
              <a:rPr lang="en-US" smtClean="0"/>
              <a:t>7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BFD1C2-C62E-45D2-9095-F8159A1122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104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PBH BRANDED COLORS">
      <a:dk1>
        <a:srgbClr val="595959"/>
      </a:dk1>
      <a:lt1>
        <a:sysClr val="window" lastClr="FFFFFF"/>
      </a:lt1>
      <a:dk2>
        <a:srgbClr val="00396B"/>
      </a:dk2>
      <a:lt2>
        <a:srgbClr val="E7E6E6"/>
      </a:lt2>
      <a:accent1>
        <a:srgbClr val="005B9E"/>
      </a:accent1>
      <a:accent2>
        <a:srgbClr val="939598"/>
      </a:accent2>
      <a:accent3>
        <a:srgbClr val="E1CB27"/>
      </a:accent3>
      <a:accent4>
        <a:srgbClr val="18ADA1"/>
      </a:accent4>
      <a:accent5>
        <a:srgbClr val="819067"/>
      </a:accent5>
      <a:accent6>
        <a:srgbClr val="B34F4F"/>
      </a:accent6>
      <a:hlink>
        <a:srgbClr val="005B9E"/>
      </a:hlink>
      <a:folHlink>
        <a:srgbClr val="5959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relon - DPBH Co-Branding" id="{67F335A8-E5BC-4524-A93E-64F0EF06B741}" vid="{872F8D90-B016-4311-9BB9-54EC8740015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EFB4887D849248A8A623155920E5E7" ma:contentTypeVersion="22" ma:contentTypeDescription="Create a new document." ma:contentTypeScope="" ma:versionID="1b600ec53c06ebd0a4824a453833f28b">
  <xsd:schema xmlns:xsd="http://www.w3.org/2001/XMLSchema" xmlns:xs="http://www.w3.org/2001/XMLSchema" xmlns:p="http://schemas.microsoft.com/office/2006/metadata/properties" xmlns:ns2="74666c5e-f7cc-4599-b255-32c3cfeac57e" xmlns:ns3="111a3afe-554a-4fad-88e5-e0dcc368c1f4" targetNamespace="http://schemas.microsoft.com/office/2006/metadata/properties" ma:root="true" ma:fieldsID="e06c663a683cbecf8ef87093b390d63e" ns2:_="" ns3:_="">
    <xsd:import namespace="74666c5e-f7cc-4599-b255-32c3cfeac57e"/>
    <xsd:import namespace="111a3afe-554a-4fad-88e5-e0dcc368c1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Numbe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666c5e-f7cc-4599-b255-32c3cfeac5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a13bb73f-e2d2-482b-8e61-3bf6a9fa62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Number" ma:index="23" nillable="true" ma:displayName="Number " ma:decimals="0" ma:default="1" ma:format="Dropdown" ma:internalName="Number" ma:percentage="FALSE">
      <xsd:simpleType>
        <xsd:restriction base="dms:Number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1a3afe-554a-4fad-88e5-e0dcc368c1f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d4d73ba5-ac26-4ee4-9d93-deb18c382b2f}" ma:internalName="TaxCatchAll" ma:showField="CatchAllData" ma:web="111a3afe-554a-4fad-88e5-e0dcc368c1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11a3afe-554a-4fad-88e5-e0dcc368c1f4" xsi:nil="true"/>
    <lcf76f155ced4ddcb4097134ff3c332f xmlns="74666c5e-f7cc-4599-b255-32c3cfeac57e">
      <Terms xmlns="http://schemas.microsoft.com/office/infopath/2007/PartnerControls"/>
    </lcf76f155ced4ddcb4097134ff3c332f>
    <Number xmlns="74666c5e-f7cc-4599-b255-32c3cfeac57e">1</Number>
  </documentManagement>
</p:properties>
</file>

<file path=customXml/itemProps1.xml><?xml version="1.0" encoding="utf-8"?>
<ds:datastoreItem xmlns:ds="http://schemas.openxmlformats.org/officeDocument/2006/customXml" ds:itemID="{5A2D7122-547D-4804-A8AB-D320F2C77A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666c5e-f7cc-4599-b255-32c3cfeac57e"/>
    <ds:schemaRef ds:uri="111a3afe-554a-4fad-88e5-e0dcc368c1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0FC6F7A-39DF-43D1-9AB5-E54AA2672E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35FE7B-81C7-4EC7-80AE-403F4437E6FF}">
  <ds:schemaRefs>
    <ds:schemaRef ds:uri="d57665fe-1cb0-47f6-956e-b7b34727865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111a3afe-554a-4fad-88e5-e0dcc368c1f4"/>
    <ds:schemaRef ds:uri="74666c5e-f7cc-4599-b255-32c3cfeac57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relon - DPBH Co-Branding</Template>
  <TotalTime>1857</TotalTime>
  <Words>305</Words>
  <Application>Microsoft Office PowerPoint</Application>
  <PresentationFormat>Widescreen</PresentationFormat>
  <Paragraphs>81</Paragraphs>
  <Slides>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NEVADA BEHAVIORAL HEALTH CRISIS CARE HUB</vt:lpstr>
      <vt:lpstr>CARELON IS THE NATIONAL LEADER IN BEHAVIORAL HEALTH CRISIS SOLUTIONS</vt:lpstr>
      <vt:lpstr>OUR VISION FOR NEVADA</vt:lpstr>
      <vt:lpstr>Outreach and Regulations</vt:lpstr>
      <vt:lpstr>IMPLEMENTATION TIMELIN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nry, Aaron</dc:creator>
  <cp:lastModifiedBy>Rachel Isherwood</cp:lastModifiedBy>
  <cp:revision>7</cp:revision>
  <cp:lastPrinted>2025-03-02T00:03:11Z</cp:lastPrinted>
  <dcterms:created xsi:type="dcterms:W3CDTF">2025-01-31T17:49:46Z</dcterms:created>
  <dcterms:modified xsi:type="dcterms:W3CDTF">2025-04-30T00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Order">
    <vt:r8>118800</vt:r8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ComplianceAssetId">
    <vt:lpwstr/>
  </property>
  <property fmtid="{D5CDD505-2E9C-101B-9397-08002B2CF9AE}" pid="7" name="ContentTypeId">
    <vt:lpwstr>0x010100C7EFB4887D849248A8A623155920E5E7</vt:lpwstr>
  </property>
</Properties>
</file>